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diagrams/drawing2.xml" ContentType="application/vnd.ms-office.drawingml.diagramDrawin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colors8.xml" ContentType="application/vnd.openxmlformats-officedocument.drawingml.diagramColor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colors6.xml" ContentType="application/vnd.openxmlformats-officedocument.drawingml.diagramColors+xml"/>
  <Override PartName="/ppt/diagrams/drawing7.xml" ContentType="application/vnd.ms-office.drawingml.diagramDrawing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diagrams/drawing5.xml" ContentType="application/vnd.ms-office.drawingml.diagramDrawing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Default Extension="png" ContentType="image/png"/>
  <Override PartName="/ppt/notesSlides/notesSlide1.xml" ContentType="application/vnd.openxmlformats-officedocument.presentationml.notesSlide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diagrams/drawing1.xml" ContentType="application/vnd.ms-office.drawingml.diagramDrawing+xml"/>
  <Override PartName="/ppt/slides/slide1.xml" ContentType="application/vnd.openxmlformats-officedocument.presentationml.slide+xml"/>
  <Default Extension="jpeg" ContentType="image/jpeg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diagrams/layout6.xml" ContentType="application/vnd.openxmlformats-officedocument.drawingml.diagramLayout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diagrams/layout4.xml" ContentType="application/vnd.openxmlformats-officedocument.drawingml.diagramLayout+xml"/>
  <Override PartName="/ppt/diagrams/data7.xml" ContentType="application/vnd.openxmlformats-officedocument.drawingml.diagramData+xml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drawing8.xml" ContentType="application/vnd.ms-office.drawingml.diagramDrawing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quickStyle8.xml" ContentType="application/vnd.openxmlformats-officedocument.drawingml.diagramStyle+xml"/>
  <Override PartName="/ppt/diagrams/drawing6.xml" ContentType="application/vnd.ms-office.drawingml.diagramDrawing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docProps/core.xml" ContentType="application/vnd.openxmlformats-package.core-properties+xml"/>
  <Override PartName="/ppt/diagrams/drawing4.xml" ContentType="application/vnd.ms-office.drawingml.diagramDrawing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notesMasterIdLst>
    <p:notesMasterId r:id="rId13"/>
  </p:notesMasterIdLst>
  <p:sldIdLst>
    <p:sldId id="256" r:id="rId3"/>
    <p:sldId id="257" r:id="rId4"/>
    <p:sldId id="259" r:id="rId5"/>
    <p:sldId id="287" r:id="rId6"/>
    <p:sldId id="260" r:id="rId7"/>
    <p:sldId id="269" r:id="rId8"/>
    <p:sldId id="273" r:id="rId9"/>
    <p:sldId id="285" r:id="rId10"/>
    <p:sldId id="281" r:id="rId11"/>
    <p:sldId id="286" r:id="rId12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3990" autoAdjust="0"/>
    <p:restoredTop sz="94660"/>
  </p:normalViewPr>
  <p:slideViewPr>
    <p:cSldViewPr>
      <p:cViewPr>
        <p:scale>
          <a:sx n="79" d="100"/>
          <a:sy n="79" d="100"/>
        </p:scale>
        <p:origin x="-876" y="-51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A6E8F5C-05A2-4669-888A-359B51374873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A267B4CA-8C89-4684-A290-196022529331}">
      <dgm:prSet phldrT="[Текст]" custT="1"/>
      <dgm:spPr/>
      <dgm:t>
        <a:bodyPr/>
        <a:lstStyle/>
        <a:p>
          <a:pPr algn="ctr"/>
          <a:r>
            <a:rPr lang="ru-RU" sz="2400" dirty="0" smtClean="0">
              <a:latin typeface="Times New Roman" pitchFamily="18" charset="0"/>
              <a:cs typeface="Times New Roman" pitchFamily="18" charset="0"/>
            </a:rPr>
            <a:t>1.Базовый курс </a:t>
          </a:r>
          <a:endParaRPr lang="ru-RU" sz="2400" dirty="0"/>
        </a:p>
      </dgm:t>
    </dgm:pt>
    <dgm:pt modelId="{6AB8BA81-C761-40E2-8914-B4A9AEC9FA58}" type="parTrans" cxnId="{AAFED23B-AFC0-4026-BBCA-ECCBB7548C0D}">
      <dgm:prSet/>
      <dgm:spPr/>
      <dgm:t>
        <a:bodyPr/>
        <a:lstStyle/>
        <a:p>
          <a:endParaRPr lang="ru-RU"/>
        </a:p>
      </dgm:t>
    </dgm:pt>
    <dgm:pt modelId="{6C5C8376-09CB-4835-A210-5A4F6424F3F1}" type="sibTrans" cxnId="{AAFED23B-AFC0-4026-BBCA-ECCBB7548C0D}">
      <dgm:prSet/>
      <dgm:spPr/>
      <dgm:t>
        <a:bodyPr/>
        <a:lstStyle/>
        <a:p>
          <a:endParaRPr lang="ru-RU"/>
        </a:p>
      </dgm:t>
    </dgm:pt>
    <dgm:pt modelId="{0CF8BE42-F663-4AE3-8AB6-CE3A868DBF85}">
      <dgm:prSet phldrT="[Текст]" custT="1"/>
      <dgm:spPr/>
      <dgm:t>
        <a:bodyPr/>
        <a:lstStyle/>
        <a:p>
          <a:pPr marL="0" marR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400" dirty="0" smtClean="0">
              <a:latin typeface="Times New Roman" pitchFamily="18" charset="0"/>
              <a:cs typeface="Times New Roman" pitchFamily="18" charset="0"/>
            </a:rPr>
            <a:t>Система 5С </a:t>
          </a:r>
        </a:p>
      </dgm:t>
    </dgm:pt>
    <dgm:pt modelId="{3E01146E-026F-4D37-AB50-7479432151D3}" type="parTrans" cxnId="{70D248B3-2B2A-4E73-B4CA-7EDB9D9FF483}">
      <dgm:prSet/>
      <dgm:spPr/>
      <dgm:t>
        <a:bodyPr/>
        <a:lstStyle/>
        <a:p>
          <a:endParaRPr lang="ru-RU"/>
        </a:p>
      </dgm:t>
    </dgm:pt>
    <dgm:pt modelId="{5A2C2A19-A6A4-455E-BA36-AFF3F50992C8}" type="sibTrans" cxnId="{70D248B3-2B2A-4E73-B4CA-7EDB9D9FF483}">
      <dgm:prSet/>
      <dgm:spPr/>
      <dgm:t>
        <a:bodyPr/>
        <a:lstStyle/>
        <a:p>
          <a:endParaRPr lang="ru-RU"/>
        </a:p>
      </dgm:t>
    </dgm:pt>
    <dgm:pt modelId="{ED7DA9DF-AC06-4C74-96D6-6A9C7B0503CA}">
      <dgm:prSet phldrT="[Текст]" custT="1"/>
      <dgm:spPr/>
      <dgm:t>
        <a:bodyPr/>
        <a:lstStyle/>
        <a:p>
          <a:pPr algn="ctr"/>
          <a:r>
            <a:rPr lang="ru-RU" sz="2400" dirty="0" smtClean="0">
              <a:latin typeface="Times New Roman" pitchFamily="18" charset="0"/>
              <a:cs typeface="Times New Roman" pitchFamily="18" charset="0"/>
            </a:rPr>
            <a:t>Виды потерь</a:t>
          </a:r>
        </a:p>
      </dgm:t>
    </dgm:pt>
    <dgm:pt modelId="{068793A4-833F-404F-A5AA-DC620068785E}" type="parTrans" cxnId="{DDB2D6BF-85F6-4E66-B811-ED84C52FD05D}">
      <dgm:prSet/>
      <dgm:spPr/>
      <dgm:t>
        <a:bodyPr/>
        <a:lstStyle/>
        <a:p>
          <a:endParaRPr lang="ru-RU"/>
        </a:p>
      </dgm:t>
    </dgm:pt>
    <dgm:pt modelId="{5863D244-42A9-4A77-96A4-53F3D8037A4D}" type="sibTrans" cxnId="{DDB2D6BF-85F6-4E66-B811-ED84C52FD05D}">
      <dgm:prSet/>
      <dgm:spPr/>
      <dgm:t>
        <a:bodyPr/>
        <a:lstStyle/>
        <a:p>
          <a:endParaRPr lang="ru-RU"/>
        </a:p>
      </dgm:t>
    </dgm:pt>
    <dgm:pt modelId="{98CC1F24-97ED-4E3F-B74C-A06E6DCFC693}">
      <dgm:prSet custT="1"/>
      <dgm:spPr/>
      <dgm:t>
        <a:bodyPr/>
        <a:lstStyle/>
        <a:p>
          <a:pPr algn="ctr"/>
          <a:r>
            <a:rPr lang="ru-RU" sz="2400" dirty="0" smtClean="0">
              <a:latin typeface="Times New Roman" pitchFamily="18" charset="0"/>
              <a:cs typeface="Times New Roman" pitchFamily="18" charset="0"/>
            </a:rPr>
            <a:t>2.Картирование процессов</a:t>
          </a:r>
        </a:p>
      </dgm:t>
    </dgm:pt>
    <dgm:pt modelId="{68D63EF0-B213-42CB-A8A1-4784613D6EE7}" type="parTrans" cxnId="{4446E272-967C-4BAF-AA47-76D8360397C5}">
      <dgm:prSet/>
      <dgm:spPr/>
      <dgm:t>
        <a:bodyPr/>
        <a:lstStyle/>
        <a:p>
          <a:endParaRPr lang="ru-RU"/>
        </a:p>
      </dgm:t>
    </dgm:pt>
    <dgm:pt modelId="{DDD34E2A-2D57-45D2-A6BD-9CFB14C314DD}" type="sibTrans" cxnId="{4446E272-967C-4BAF-AA47-76D8360397C5}">
      <dgm:prSet/>
      <dgm:spPr/>
      <dgm:t>
        <a:bodyPr/>
        <a:lstStyle/>
        <a:p>
          <a:endParaRPr lang="ru-RU"/>
        </a:p>
      </dgm:t>
    </dgm:pt>
    <dgm:pt modelId="{086AE3FD-9627-43E3-A000-4CE06AC197F3}">
      <dgm:prSet custT="1"/>
      <dgm:spPr/>
      <dgm:t>
        <a:bodyPr/>
        <a:lstStyle/>
        <a:p>
          <a:pPr algn="ctr"/>
          <a:r>
            <a:rPr lang="ru-RU" sz="2400" dirty="0" smtClean="0">
              <a:latin typeface="Times New Roman" pitchFamily="18" charset="0"/>
              <a:cs typeface="Times New Roman" pitchFamily="18" charset="0"/>
            </a:rPr>
            <a:t>3.Методика реализации </a:t>
          </a:r>
          <a:r>
            <a:rPr lang="ru-RU" sz="2400" dirty="0" err="1" smtClean="0">
              <a:latin typeface="Times New Roman" pitchFamily="18" charset="0"/>
              <a:cs typeface="Times New Roman" pitchFamily="18" charset="0"/>
            </a:rPr>
            <a:t>ПСР-проектов</a:t>
          </a:r>
          <a:endParaRPr lang="ru-RU" sz="2400" dirty="0" smtClean="0">
            <a:latin typeface="Times New Roman" pitchFamily="18" charset="0"/>
            <a:cs typeface="Times New Roman" pitchFamily="18" charset="0"/>
          </a:endParaRPr>
        </a:p>
      </dgm:t>
    </dgm:pt>
    <dgm:pt modelId="{11B07EA4-634E-4F2B-99C5-CA95B54D0835}" type="parTrans" cxnId="{2D19B612-8ED3-44A4-940B-2EBBE6A9C3EA}">
      <dgm:prSet/>
      <dgm:spPr/>
      <dgm:t>
        <a:bodyPr/>
        <a:lstStyle/>
        <a:p>
          <a:endParaRPr lang="ru-RU"/>
        </a:p>
      </dgm:t>
    </dgm:pt>
    <dgm:pt modelId="{90F35BA8-C735-48EA-9370-C7C734229C0E}" type="sibTrans" cxnId="{2D19B612-8ED3-44A4-940B-2EBBE6A9C3EA}">
      <dgm:prSet/>
      <dgm:spPr/>
      <dgm:t>
        <a:bodyPr/>
        <a:lstStyle/>
        <a:p>
          <a:endParaRPr lang="ru-RU"/>
        </a:p>
      </dgm:t>
    </dgm:pt>
    <dgm:pt modelId="{50E8DCFA-4868-41DC-82E4-C2A8757EB31D}" type="pres">
      <dgm:prSet presAssocID="{1A6E8F5C-05A2-4669-888A-359B51374873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136A3F86-1150-439C-976E-94BEC6F9843E}" type="pres">
      <dgm:prSet presAssocID="{A267B4CA-8C89-4684-A290-196022529331}" presName="parentLin" presStyleCnt="0"/>
      <dgm:spPr/>
    </dgm:pt>
    <dgm:pt modelId="{BBA4F841-3C8C-4D44-BC4B-DF0370D95ABE}" type="pres">
      <dgm:prSet presAssocID="{A267B4CA-8C89-4684-A290-196022529331}" presName="parentLeftMargin" presStyleLbl="node1" presStyleIdx="0" presStyleCnt="5"/>
      <dgm:spPr/>
      <dgm:t>
        <a:bodyPr/>
        <a:lstStyle/>
        <a:p>
          <a:endParaRPr lang="ru-RU"/>
        </a:p>
      </dgm:t>
    </dgm:pt>
    <dgm:pt modelId="{F6116520-8D28-4016-A33F-D031E199805E}" type="pres">
      <dgm:prSet presAssocID="{A267B4CA-8C89-4684-A290-196022529331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8FE770D-50CA-43FC-84C4-C5A7CA370034}" type="pres">
      <dgm:prSet presAssocID="{A267B4CA-8C89-4684-A290-196022529331}" presName="negativeSpace" presStyleCnt="0"/>
      <dgm:spPr/>
    </dgm:pt>
    <dgm:pt modelId="{3548A455-97C8-4807-B92D-19E8F7AE6F1A}" type="pres">
      <dgm:prSet presAssocID="{A267B4CA-8C89-4684-A290-196022529331}" presName="childText" presStyleLbl="conFgAcc1" presStyleIdx="0" presStyleCnt="5">
        <dgm:presLayoutVars>
          <dgm:bulletEnabled val="1"/>
        </dgm:presLayoutVars>
      </dgm:prSet>
      <dgm:spPr/>
    </dgm:pt>
    <dgm:pt modelId="{560FD078-8717-44FB-B8BC-7876A317F162}" type="pres">
      <dgm:prSet presAssocID="{6C5C8376-09CB-4835-A210-5A4F6424F3F1}" presName="spaceBetweenRectangles" presStyleCnt="0"/>
      <dgm:spPr/>
    </dgm:pt>
    <dgm:pt modelId="{BB0A0B2B-ED4C-453F-B71F-AA8CDE6DC158}" type="pres">
      <dgm:prSet presAssocID="{0CF8BE42-F663-4AE3-8AB6-CE3A868DBF85}" presName="parentLin" presStyleCnt="0"/>
      <dgm:spPr/>
    </dgm:pt>
    <dgm:pt modelId="{0CF821F3-B2CD-44AD-A90A-DC2212B2AE5B}" type="pres">
      <dgm:prSet presAssocID="{0CF8BE42-F663-4AE3-8AB6-CE3A868DBF85}" presName="parentLeftMargin" presStyleLbl="node1" presStyleIdx="0" presStyleCnt="5"/>
      <dgm:spPr/>
      <dgm:t>
        <a:bodyPr/>
        <a:lstStyle/>
        <a:p>
          <a:endParaRPr lang="ru-RU"/>
        </a:p>
      </dgm:t>
    </dgm:pt>
    <dgm:pt modelId="{6134ADA2-F7D1-4C72-83C4-03B434948EEB}" type="pres">
      <dgm:prSet presAssocID="{0CF8BE42-F663-4AE3-8AB6-CE3A868DBF85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C484731-EB38-4946-A5D1-3894FBB319CB}" type="pres">
      <dgm:prSet presAssocID="{0CF8BE42-F663-4AE3-8AB6-CE3A868DBF85}" presName="negativeSpace" presStyleCnt="0"/>
      <dgm:spPr/>
    </dgm:pt>
    <dgm:pt modelId="{917F76E1-4E7A-4168-986D-7ED474114D94}" type="pres">
      <dgm:prSet presAssocID="{0CF8BE42-F663-4AE3-8AB6-CE3A868DBF85}" presName="childText" presStyleLbl="conFgAcc1" presStyleIdx="1" presStyleCnt="5">
        <dgm:presLayoutVars>
          <dgm:bulletEnabled val="1"/>
        </dgm:presLayoutVars>
      </dgm:prSet>
      <dgm:spPr/>
    </dgm:pt>
    <dgm:pt modelId="{05270A52-45F8-4089-94A4-B711CCCDBB66}" type="pres">
      <dgm:prSet presAssocID="{5A2C2A19-A6A4-455E-BA36-AFF3F50992C8}" presName="spaceBetweenRectangles" presStyleCnt="0"/>
      <dgm:spPr/>
    </dgm:pt>
    <dgm:pt modelId="{66A385CA-FC75-4E2D-83F1-9784691F099C}" type="pres">
      <dgm:prSet presAssocID="{ED7DA9DF-AC06-4C74-96D6-6A9C7B0503CA}" presName="parentLin" presStyleCnt="0"/>
      <dgm:spPr/>
    </dgm:pt>
    <dgm:pt modelId="{FC21E75B-B160-4D1F-9C1C-5BC385D9E87D}" type="pres">
      <dgm:prSet presAssocID="{ED7DA9DF-AC06-4C74-96D6-6A9C7B0503CA}" presName="parentLeftMargin" presStyleLbl="node1" presStyleIdx="1" presStyleCnt="5"/>
      <dgm:spPr/>
      <dgm:t>
        <a:bodyPr/>
        <a:lstStyle/>
        <a:p>
          <a:endParaRPr lang="ru-RU"/>
        </a:p>
      </dgm:t>
    </dgm:pt>
    <dgm:pt modelId="{BC9CBAD4-8882-4ED4-B564-4521E20C2A66}" type="pres">
      <dgm:prSet presAssocID="{ED7DA9DF-AC06-4C74-96D6-6A9C7B0503CA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24489F8-DBC2-4A49-A76F-2BD7BEA7C97D}" type="pres">
      <dgm:prSet presAssocID="{ED7DA9DF-AC06-4C74-96D6-6A9C7B0503CA}" presName="negativeSpace" presStyleCnt="0"/>
      <dgm:spPr/>
    </dgm:pt>
    <dgm:pt modelId="{35414E26-96D2-40BB-8F51-3C9E35F6B014}" type="pres">
      <dgm:prSet presAssocID="{ED7DA9DF-AC06-4C74-96D6-6A9C7B0503CA}" presName="childText" presStyleLbl="conFgAcc1" presStyleIdx="2" presStyleCnt="5" custLinFactNeighborX="-391" custLinFactNeighborY="-6533">
        <dgm:presLayoutVars>
          <dgm:bulletEnabled val="1"/>
        </dgm:presLayoutVars>
      </dgm:prSet>
      <dgm:spPr/>
    </dgm:pt>
    <dgm:pt modelId="{F40766FD-2C46-4CD6-97DB-42A8B57AE80C}" type="pres">
      <dgm:prSet presAssocID="{5863D244-42A9-4A77-96A4-53F3D8037A4D}" presName="spaceBetweenRectangles" presStyleCnt="0"/>
      <dgm:spPr/>
    </dgm:pt>
    <dgm:pt modelId="{D6E449DD-5337-4532-9C43-A9501ED07577}" type="pres">
      <dgm:prSet presAssocID="{98CC1F24-97ED-4E3F-B74C-A06E6DCFC693}" presName="parentLin" presStyleCnt="0"/>
      <dgm:spPr/>
    </dgm:pt>
    <dgm:pt modelId="{6338D2AE-202D-4902-AAA2-E996EE63E18F}" type="pres">
      <dgm:prSet presAssocID="{98CC1F24-97ED-4E3F-B74C-A06E6DCFC693}" presName="parentLeftMargin" presStyleLbl="node1" presStyleIdx="2" presStyleCnt="5"/>
      <dgm:spPr/>
      <dgm:t>
        <a:bodyPr/>
        <a:lstStyle/>
        <a:p>
          <a:endParaRPr lang="ru-RU"/>
        </a:p>
      </dgm:t>
    </dgm:pt>
    <dgm:pt modelId="{4DCDF7F4-EF61-4300-A085-0E7227DCEAFB}" type="pres">
      <dgm:prSet presAssocID="{98CC1F24-97ED-4E3F-B74C-A06E6DCFC693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05BD8D0-0B2D-458F-8B5C-C3BCD863F80C}" type="pres">
      <dgm:prSet presAssocID="{98CC1F24-97ED-4E3F-B74C-A06E6DCFC693}" presName="negativeSpace" presStyleCnt="0"/>
      <dgm:spPr/>
    </dgm:pt>
    <dgm:pt modelId="{4712E8A5-C1BA-4E5A-9BDC-5A61A06144A3}" type="pres">
      <dgm:prSet presAssocID="{98CC1F24-97ED-4E3F-B74C-A06E6DCFC693}" presName="childText" presStyleLbl="conFgAcc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C4B16D1-EB4A-491A-AB9A-EE0A4252CBD7}" type="pres">
      <dgm:prSet presAssocID="{DDD34E2A-2D57-45D2-A6BD-9CFB14C314DD}" presName="spaceBetweenRectangles" presStyleCnt="0"/>
      <dgm:spPr/>
    </dgm:pt>
    <dgm:pt modelId="{EC291823-659C-4550-BA9F-9479162B3BBF}" type="pres">
      <dgm:prSet presAssocID="{086AE3FD-9627-43E3-A000-4CE06AC197F3}" presName="parentLin" presStyleCnt="0"/>
      <dgm:spPr/>
    </dgm:pt>
    <dgm:pt modelId="{BDA8E31C-EF04-4977-8F8A-77912D989511}" type="pres">
      <dgm:prSet presAssocID="{086AE3FD-9627-43E3-A000-4CE06AC197F3}" presName="parentLeftMargin" presStyleLbl="node1" presStyleIdx="3" presStyleCnt="5"/>
      <dgm:spPr/>
      <dgm:t>
        <a:bodyPr/>
        <a:lstStyle/>
        <a:p>
          <a:endParaRPr lang="ru-RU"/>
        </a:p>
      </dgm:t>
    </dgm:pt>
    <dgm:pt modelId="{E99801A3-48FC-4FD9-8859-68339E65B183}" type="pres">
      <dgm:prSet presAssocID="{086AE3FD-9627-43E3-A000-4CE06AC197F3}" presName="parentText" presStyleLbl="node1" presStyleIdx="4" presStyleCnt="5" custScaleY="12252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3D47475-8AD4-4002-AB0B-511E2270A7F4}" type="pres">
      <dgm:prSet presAssocID="{086AE3FD-9627-43E3-A000-4CE06AC197F3}" presName="negativeSpace" presStyleCnt="0"/>
      <dgm:spPr/>
    </dgm:pt>
    <dgm:pt modelId="{CBECA357-2C6C-43B3-B3E1-F982CA3087C6}" type="pres">
      <dgm:prSet presAssocID="{086AE3FD-9627-43E3-A000-4CE06AC197F3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F096A9AF-2102-4377-A0C3-E1B0ACD09BB3}" type="presOf" srcId="{086AE3FD-9627-43E3-A000-4CE06AC197F3}" destId="{BDA8E31C-EF04-4977-8F8A-77912D989511}" srcOrd="0" destOrd="0" presId="urn:microsoft.com/office/officeart/2005/8/layout/list1"/>
    <dgm:cxn modelId="{B7EB6C2E-FD55-48AD-836E-968C22705C66}" type="presOf" srcId="{A267B4CA-8C89-4684-A290-196022529331}" destId="{F6116520-8D28-4016-A33F-D031E199805E}" srcOrd="1" destOrd="0" presId="urn:microsoft.com/office/officeart/2005/8/layout/list1"/>
    <dgm:cxn modelId="{DA8AF04E-D2BE-4705-9D36-87462074169D}" type="presOf" srcId="{086AE3FD-9627-43E3-A000-4CE06AC197F3}" destId="{E99801A3-48FC-4FD9-8859-68339E65B183}" srcOrd="1" destOrd="0" presId="urn:microsoft.com/office/officeart/2005/8/layout/list1"/>
    <dgm:cxn modelId="{4446E272-967C-4BAF-AA47-76D8360397C5}" srcId="{1A6E8F5C-05A2-4669-888A-359B51374873}" destId="{98CC1F24-97ED-4E3F-B74C-A06E6DCFC693}" srcOrd="3" destOrd="0" parTransId="{68D63EF0-B213-42CB-A8A1-4784613D6EE7}" sibTransId="{DDD34E2A-2D57-45D2-A6BD-9CFB14C314DD}"/>
    <dgm:cxn modelId="{DDB2D6BF-85F6-4E66-B811-ED84C52FD05D}" srcId="{1A6E8F5C-05A2-4669-888A-359B51374873}" destId="{ED7DA9DF-AC06-4C74-96D6-6A9C7B0503CA}" srcOrd="2" destOrd="0" parTransId="{068793A4-833F-404F-A5AA-DC620068785E}" sibTransId="{5863D244-42A9-4A77-96A4-53F3D8037A4D}"/>
    <dgm:cxn modelId="{2D19B612-8ED3-44A4-940B-2EBBE6A9C3EA}" srcId="{1A6E8F5C-05A2-4669-888A-359B51374873}" destId="{086AE3FD-9627-43E3-A000-4CE06AC197F3}" srcOrd="4" destOrd="0" parTransId="{11B07EA4-634E-4F2B-99C5-CA95B54D0835}" sibTransId="{90F35BA8-C735-48EA-9370-C7C734229C0E}"/>
    <dgm:cxn modelId="{BFA86CEB-C31B-4A8B-BCAF-ED02D1B37F11}" type="presOf" srcId="{0CF8BE42-F663-4AE3-8AB6-CE3A868DBF85}" destId="{6134ADA2-F7D1-4C72-83C4-03B434948EEB}" srcOrd="1" destOrd="0" presId="urn:microsoft.com/office/officeart/2005/8/layout/list1"/>
    <dgm:cxn modelId="{F7EB13FE-FB58-4CEE-9C52-3426ECEA776F}" type="presOf" srcId="{98CC1F24-97ED-4E3F-B74C-A06E6DCFC693}" destId="{6338D2AE-202D-4902-AAA2-E996EE63E18F}" srcOrd="0" destOrd="0" presId="urn:microsoft.com/office/officeart/2005/8/layout/list1"/>
    <dgm:cxn modelId="{971127B9-18B2-480C-924E-8E726913B968}" type="presOf" srcId="{ED7DA9DF-AC06-4C74-96D6-6A9C7B0503CA}" destId="{BC9CBAD4-8882-4ED4-B564-4521E20C2A66}" srcOrd="1" destOrd="0" presId="urn:microsoft.com/office/officeart/2005/8/layout/list1"/>
    <dgm:cxn modelId="{AAFED23B-AFC0-4026-BBCA-ECCBB7548C0D}" srcId="{1A6E8F5C-05A2-4669-888A-359B51374873}" destId="{A267B4CA-8C89-4684-A290-196022529331}" srcOrd="0" destOrd="0" parTransId="{6AB8BA81-C761-40E2-8914-B4A9AEC9FA58}" sibTransId="{6C5C8376-09CB-4835-A210-5A4F6424F3F1}"/>
    <dgm:cxn modelId="{4AFE99EF-81BB-4A30-BD3C-E104A7543B03}" type="presOf" srcId="{1A6E8F5C-05A2-4669-888A-359B51374873}" destId="{50E8DCFA-4868-41DC-82E4-C2A8757EB31D}" srcOrd="0" destOrd="0" presId="urn:microsoft.com/office/officeart/2005/8/layout/list1"/>
    <dgm:cxn modelId="{61E1837B-F918-4AFE-8A19-095959037830}" type="presOf" srcId="{ED7DA9DF-AC06-4C74-96D6-6A9C7B0503CA}" destId="{FC21E75B-B160-4D1F-9C1C-5BC385D9E87D}" srcOrd="0" destOrd="0" presId="urn:microsoft.com/office/officeart/2005/8/layout/list1"/>
    <dgm:cxn modelId="{01D918D2-B115-4D7D-B7B9-628F1F95167D}" type="presOf" srcId="{A267B4CA-8C89-4684-A290-196022529331}" destId="{BBA4F841-3C8C-4D44-BC4B-DF0370D95ABE}" srcOrd="0" destOrd="0" presId="urn:microsoft.com/office/officeart/2005/8/layout/list1"/>
    <dgm:cxn modelId="{A3419278-394C-4F8D-BF5E-1E9E2306C764}" type="presOf" srcId="{0CF8BE42-F663-4AE3-8AB6-CE3A868DBF85}" destId="{0CF821F3-B2CD-44AD-A90A-DC2212B2AE5B}" srcOrd="0" destOrd="0" presId="urn:microsoft.com/office/officeart/2005/8/layout/list1"/>
    <dgm:cxn modelId="{A43D1858-EA4B-4BBF-AEBC-A4F9B8C3ED18}" type="presOf" srcId="{98CC1F24-97ED-4E3F-B74C-A06E6DCFC693}" destId="{4DCDF7F4-EF61-4300-A085-0E7227DCEAFB}" srcOrd="1" destOrd="0" presId="urn:microsoft.com/office/officeart/2005/8/layout/list1"/>
    <dgm:cxn modelId="{70D248B3-2B2A-4E73-B4CA-7EDB9D9FF483}" srcId="{1A6E8F5C-05A2-4669-888A-359B51374873}" destId="{0CF8BE42-F663-4AE3-8AB6-CE3A868DBF85}" srcOrd="1" destOrd="0" parTransId="{3E01146E-026F-4D37-AB50-7479432151D3}" sibTransId="{5A2C2A19-A6A4-455E-BA36-AFF3F50992C8}"/>
    <dgm:cxn modelId="{A0BCD2BB-647A-41FE-8C4F-4A2E43061B9D}" type="presParOf" srcId="{50E8DCFA-4868-41DC-82E4-C2A8757EB31D}" destId="{136A3F86-1150-439C-976E-94BEC6F9843E}" srcOrd="0" destOrd="0" presId="urn:microsoft.com/office/officeart/2005/8/layout/list1"/>
    <dgm:cxn modelId="{58F43CEB-DD44-482C-AB96-C50A4B757E98}" type="presParOf" srcId="{136A3F86-1150-439C-976E-94BEC6F9843E}" destId="{BBA4F841-3C8C-4D44-BC4B-DF0370D95ABE}" srcOrd="0" destOrd="0" presId="urn:microsoft.com/office/officeart/2005/8/layout/list1"/>
    <dgm:cxn modelId="{DA6DDE1D-86DA-4D5A-B750-C6DB3B19CE2C}" type="presParOf" srcId="{136A3F86-1150-439C-976E-94BEC6F9843E}" destId="{F6116520-8D28-4016-A33F-D031E199805E}" srcOrd="1" destOrd="0" presId="urn:microsoft.com/office/officeart/2005/8/layout/list1"/>
    <dgm:cxn modelId="{D7C4E4DC-A6D4-4418-8B70-073DD50B441F}" type="presParOf" srcId="{50E8DCFA-4868-41DC-82E4-C2A8757EB31D}" destId="{98FE770D-50CA-43FC-84C4-C5A7CA370034}" srcOrd="1" destOrd="0" presId="urn:microsoft.com/office/officeart/2005/8/layout/list1"/>
    <dgm:cxn modelId="{4674FECA-2889-4AF3-A9B4-FA07FD211813}" type="presParOf" srcId="{50E8DCFA-4868-41DC-82E4-C2A8757EB31D}" destId="{3548A455-97C8-4807-B92D-19E8F7AE6F1A}" srcOrd="2" destOrd="0" presId="urn:microsoft.com/office/officeart/2005/8/layout/list1"/>
    <dgm:cxn modelId="{4196E345-5043-4131-AFDD-EB2DF6F6D6C6}" type="presParOf" srcId="{50E8DCFA-4868-41DC-82E4-C2A8757EB31D}" destId="{560FD078-8717-44FB-B8BC-7876A317F162}" srcOrd="3" destOrd="0" presId="urn:microsoft.com/office/officeart/2005/8/layout/list1"/>
    <dgm:cxn modelId="{4DAECBDD-5F3D-42F7-9BE3-70DCEF7C9E9F}" type="presParOf" srcId="{50E8DCFA-4868-41DC-82E4-C2A8757EB31D}" destId="{BB0A0B2B-ED4C-453F-B71F-AA8CDE6DC158}" srcOrd="4" destOrd="0" presId="urn:microsoft.com/office/officeart/2005/8/layout/list1"/>
    <dgm:cxn modelId="{C81E25DC-CDF9-451A-B235-5163C7FDA21B}" type="presParOf" srcId="{BB0A0B2B-ED4C-453F-B71F-AA8CDE6DC158}" destId="{0CF821F3-B2CD-44AD-A90A-DC2212B2AE5B}" srcOrd="0" destOrd="0" presId="urn:microsoft.com/office/officeart/2005/8/layout/list1"/>
    <dgm:cxn modelId="{C36E2243-491E-4E5D-9945-43385598E609}" type="presParOf" srcId="{BB0A0B2B-ED4C-453F-B71F-AA8CDE6DC158}" destId="{6134ADA2-F7D1-4C72-83C4-03B434948EEB}" srcOrd="1" destOrd="0" presId="urn:microsoft.com/office/officeart/2005/8/layout/list1"/>
    <dgm:cxn modelId="{BC4A10BB-ACE3-4DB6-890B-CDCCB6443F56}" type="presParOf" srcId="{50E8DCFA-4868-41DC-82E4-C2A8757EB31D}" destId="{FC484731-EB38-4946-A5D1-3894FBB319CB}" srcOrd="5" destOrd="0" presId="urn:microsoft.com/office/officeart/2005/8/layout/list1"/>
    <dgm:cxn modelId="{3D26F19D-C324-4F2E-9B42-911F465F32BD}" type="presParOf" srcId="{50E8DCFA-4868-41DC-82E4-C2A8757EB31D}" destId="{917F76E1-4E7A-4168-986D-7ED474114D94}" srcOrd="6" destOrd="0" presId="urn:microsoft.com/office/officeart/2005/8/layout/list1"/>
    <dgm:cxn modelId="{21E83EE3-4FF1-42F4-BB74-5EA56C893856}" type="presParOf" srcId="{50E8DCFA-4868-41DC-82E4-C2A8757EB31D}" destId="{05270A52-45F8-4089-94A4-B711CCCDBB66}" srcOrd="7" destOrd="0" presId="urn:microsoft.com/office/officeart/2005/8/layout/list1"/>
    <dgm:cxn modelId="{46FA9B04-D30E-4D61-9C5E-57D8B8B1906A}" type="presParOf" srcId="{50E8DCFA-4868-41DC-82E4-C2A8757EB31D}" destId="{66A385CA-FC75-4E2D-83F1-9784691F099C}" srcOrd="8" destOrd="0" presId="urn:microsoft.com/office/officeart/2005/8/layout/list1"/>
    <dgm:cxn modelId="{1BCC4D92-5F1D-4B78-A834-FA127824D1BF}" type="presParOf" srcId="{66A385CA-FC75-4E2D-83F1-9784691F099C}" destId="{FC21E75B-B160-4D1F-9C1C-5BC385D9E87D}" srcOrd="0" destOrd="0" presId="urn:microsoft.com/office/officeart/2005/8/layout/list1"/>
    <dgm:cxn modelId="{F02145C2-0C51-4D2E-81A8-EC15B263C712}" type="presParOf" srcId="{66A385CA-FC75-4E2D-83F1-9784691F099C}" destId="{BC9CBAD4-8882-4ED4-B564-4521E20C2A66}" srcOrd="1" destOrd="0" presId="urn:microsoft.com/office/officeart/2005/8/layout/list1"/>
    <dgm:cxn modelId="{C6CAF8B1-929B-4AEA-9082-20AC9CA5599C}" type="presParOf" srcId="{50E8DCFA-4868-41DC-82E4-C2A8757EB31D}" destId="{624489F8-DBC2-4A49-A76F-2BD7BEA7C97D}" srcOrd="9" destOrd="0" presId="urn:microsoft.com/office/officeart/2005/8/layout/list1"/>
    <dgm:cxn modelId="{F9648D5E-CE03-4E16-BDB2-55812FCA3AF3}" type="presParOf" srcId="{50E8DCFA-4868-41DC-82E4-C2A8757EB31D}" destId="{35414E26-96D2-40BB-8F51-3C9E35F6B014}" srcOrd="10" destOrd="0" presId="urn:microsoft.com/office/officeart/2005/8/layout/list1"/>
    <dgm:cxn modelId="{1E2BAB1F-6DB1-492E-A22B-135FFA29B12C}" type="presParOf" srcId="{50E8DCFA-4868-41DC-82E4-C2A8757EB31D}" destId="{F40766FD-2C46-4CD6-97DB-42A8B57AE80C}" srcOrd="11" destOrd="0" presId="urn:microsoft.com/office/officeart/2005/8/layout/list1"/>
    <dgm:cxn modelId="{723E98B0-4D33-4DAF-AD39-412F2AAA9633}" type="presParOf" srcId="{50E8DCFA-4868-41DC-82E4-C2A8757EB31D}" destId="{D6E449DD-5337-4532-9C43-A9501ED07577}" srcOrd="12" destOrd="0" presId="urn:microsoft.com/office/officeart/2005/8/layout/list1"/>
    <dgm:cxn modelId="{A8A28566-136E-4106-BC36-5186B4AEE753}" type="presParOf" srcId="{D6E449DD-5337-4532-9C43-A9501ED07577}" destId="{6338D2AE-202D-4902-AAA2-E996EE63E18F}" srcOrd="0" destOrd="0" presId="urn:microsoft.com/office/officeart/2005/8/layout/list1"/>
    <dgm:cxn modelId="{3DC9C3F8-DF08-43D1-B132-C188EAE55F59}" type="presParOf" srcId="{D6E449DD-5337-4532-9C43-A9501ED07577}" destId="{4DCDF7F4-EF61-4300-A085-0E7227DCEAFB}" srcOrd="1" destOrd="0" presId="urn:microsoft.com/office/officeart/2005/8/layout/list1"/>
    <dgm:cxn modelId="{198E0C56-D6E0-4EA6-A5F2-FA8E75955A51}" type="presParOf" srcId="{50E8DCFA-4868-41DC-82E4-C2A8757EB31D}" destId="{405BD8D0-0B2D-458F-8B5C-C3BCD863F80C}" srcOrd="13" destOrd="0" presId="urn:microsoft.com/office/officeart/2005/8/layout/list1"/>
    <dgm:cxn modelId="{6C415377-A96A-4CAB-9797-8FEA8CD2C32B}" type="presParOf" srcId="{50E8DCFA-4868-41DC-82E4-C2A8757EB31D}" destId="{4712E8A5-C1BA-4E5A-9BDC-5A61A06144A3}" srcOrd="14" destOrd="0" presId="urn:microsoft.com/office/officeart/2005/8/layout/list1"/>
    <dgm:cxn modelId="{77D4D2F1-D103-4205-8590-02CEC5F5F718}" type="presParOf" srcId="{50E8DCFA-4868-41DC-82E4-C2A8757EB31D}" destId="{5C4B16D1-EB4A-491A-AB9A-EE0A4252CBD7}" srcOrd="15" destOrd="0" presId="urn:microsoft.com/office/officeart/2005/8/layout/list1"/>
    <dgm:cxn modelId="{EF36C230-6543-4013-89B3-02D6BCEFAF59}" type="presParOf" srcId="{50E8DCFA-4868-41DC-82E4-C2A8757EB31D}" destId="{EC291823-659C-4550-BA9F-9479162B3BBF}" srcOrd="16" destOrd="0" presId="urn:microsoft.com/office/officeart/2005/8/layout/list1"/>
    <dgm:cxn modelId="{E819EAF6-0E33-4C57-A618-8F94BD0E0BF3}" type="presParOf" srcId="{EC291823-659C-4550-BA9F-9479162B3BBF}" destId="{BDA8E31C-EF04-4977-8F8A-77912D989511}" srcOrd="0" destOrd="0" presId="urn:microsoft.com/office/officeart/2005/8/layout/list1"/>
    <dgm:cxn modelId="{34E2E45F-677C-4D45-A3D3-6DD2591CC4FD}" type="presParOf" srcId="{EC291823-659C-4550-BA9F-9479162B3BBF}" destId="{E99801A3-48FC-4FD9-8859-68339E65B183}" srcOrd="1" destOrd="0" presId="urn:microsoft.com/office/officeart/2005/8/layout/list1"/>
    <dgm:cxn modelId="{7F40C2A5-F788-4911-BFF7-75D5173AD4CB}" type="presParOf" srcId="{50E8DCFA-4868-41DC-82E4-C2A8757EB31D}" destId="{E3D47475-8AD4-4002-AB0B-511E2270A7F4}" srcOrd="17" destOrd="0" presId="urn:microsoft.com/office/officeart/2005/8/layout/list1"/>
    <dgm:cxn modelId="{9AA83C81-5F8A-473F-8C07-98A1764D4DB4}" type="presParOf" srcId="{50E8DCFA-4868-41DC-82E4-C2A8757EB31D}" destId="{CBECA357-2C6C-43B3-B3E1-F982CA3087C6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05B5221-6E06-4387-BA23-4D4CE00A56E6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1B9901A-A606-44C3-9FA6-D5C9D222E89A}">
      <dgm:prSet phldrT="[Текст]"/>
      <dgm:spPr/>
      <dgm:t>
        <a:bodyPr/>
        <a:lstStyle/>
        <a:p>
          <a:r>
            <a:rPr lang="ru-RU" dirty="0" smtClean="0"/>
            <a:t>1</a:t>
          </a:r>
          <a:endParaRPr lang="ru-RU" dirty="0"/>
        </a:p>
      </dgm:t>
    </dgm:pt>
    <dgm:pt modelId="{E129D9A4-725A-422F-A330-B48D6F8DD42D}" type="parTrans" cxnId="{D18278DE-496F-4617-BECC-BA56D8549997}">
      <dgm:prSet/>
      <dgm:spPr/>
      <dgm:t>
        <a:bodyPr/>
        <a:lstStyle/>
        <a:p>
          <a:endParaRPr lang="ru-RU"/>
        </a:p>
      </dgm:t>
    </dgm:pt>
    <dgm:pt modelId="{6497506E-ECF9-4316-BB8E-7E4295FB4B0E}" type="sibTrans" cxnId="{D18278DE-496F-4617-BECC-BA56D8549997}">
      <dgm:prSet/>
      <dgm:spPr/>
      <dgm:t>
        <a:bodyPr/>
        <a:lstStyle/>
        <a:p>
          <a:endParaRPr lang="ru-RU"/>
        </a:p>
      </dgm:t>
    </dgm:pt>
    <dgm:pt modelId="{F119E26A-BCBA-43E6-89BD-1C24223F7251}">
      <dgm:prSet phldrT="[Текст]" custT="1"/>
      <dgm:spPr>
        <a:solidFill>
          <a:schemeClr val="bg1">
            <a:alpha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pPr marL="0" marR="0" indent="0" algn="just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Приступая к обслуживанию граждан пожилого возраста, подробно изучить индивидуальную программу социального обслуживания граждан пожилого возраста, которые закреплены приказом «О закреплении обслуживаемых за социальным работником на норму нагрузки»</a:t>
          </a:r>
          <a:endParaRPr lang="ru-RU" sz="1400" b="1" dirty="0">
            <a:solidFill>
              <a:schemeClr val="tx1"/>
            </a:solidFill>
          </a:endParaRPr>
        </a:p>
      </dgm:t>
    </dgm:pt>
    <dgm:pt modelId="{CA4681AC-23CD-4BB5-BC1C-11BB600C48A5}" type="parTrans" cxnId="{618CB938-3622-4A0A-BA08-3923F9BD2E7A}">
      <dgm:prSet/>
      <dgm:spPr/>
      <dgm:t>
        <a:bodyPr/>
        <a:lstStyle/>
        <a:p>
          <a:endParaRPr lang="ru-RU"/>
        </a:p>
      </dgm:t>
    </dgm:pt>
    <dgm:pt modelId="{A7F15D26-6CE3-4373-8D47-2DC54BCABEC1}" type="sibTrans" cxnId="{618CB938-3622-4A0A-BA08-3923F9BD2E7A}">
      <dgm:prSet/>
      <dgm:spPr/>
      <dgm:t>
        <a:bodyPr/>
        <a:lstStyle/>
        <a:p>
          <a:endParaRPr lang="ru-RU"/>
        </a:p>
      </dgm:t>
    </dgm:pt>
    <dgm:pt modelId="{140A49E0-E848-4958-B4E1-47491E898D75}">
      <dgm:prSet phldrT="[Текст]"/>
      <dgm:spPr/>
      <dgm:t>
        <a:bodyPr/>
        <a:lstStyle/>
        <a:p>
          <a:r>
            <a:rPr lang="ru-RU" dirty="0" smtClean="0"/>
            <a:t>2</a:t>
          </a:r>
          <a:endParaRPr lang="ru-RU" dirty="0"/>
        </a:p>
      </dgm:t>
    </dgm:pt>
    <dgm:pt modelId="{F9A8CD72-F13C-450A-A568-5ADE2EF9F3AE}" type="parTrans" cxnId="{A169C3DE-FCDC-497D-912A-52BE8D64C77F}">
      <dgm:prSet/>
      <dgm:spPr/>
      <dgm:t>
        <a:bodyPr/>
        <a:lstStyle/>
        <a:p>
          <a:endParaRPr lang="ru-RU"/>
        </a:p>
      </dgm:t>
    </dgm:pt>
    <dgm:pt modelId="{8E4F5399-92B9-4D93-8016-0E48778808D8}" type="sibTrans" cxnId="{A169C3DE-FCDC-497D-912A-52BE8D64C77F}">
      <dgm:prSet/>
      <dgm:spPr/>
      <dgm:t>
        <a:bodyPr/>
        <a:lstStyle/>
        <a:p>
          <a:endParaRPr lang="ru-RU"/>
        </a:p>
      </dgm:t>
    </dgm:pt>
    <dgm:pt modelId="{21FC950A-ABE4-422A-B34D-9CA50D656270}">
      <dgm:prSet phldrT="[Текст]" custT="1"/>
      <dgm:spPr>
        <a:solidFill>
          <a:schemeClr val="bg1">
            <a:alpha val="89804"/>
          </a:schemeClr>
        </a:solidFill>
      </dgm:spPr>
      <dgm:t>
        <a:bodyPr/>
        <a:lstStyle/>
        <a:p>
          <a:pPr marL="0" marR="0" indent="0" algn="just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Распределить потоки (по видам услуг, по дням недели, по обслуживаемым)</a:t>
          </a:r>
        </a:p>
      </dgm:t>
    </dgm:pt>
    <dgm:pt modelId="{FEBFF8ED-FC01-49C9-B2F2-6A28E91D556C}" type="parTrans" cxnId="{04C52851-A186-4842-BAC9-0C59AA330B08}">
      <dgm:prSet/>
      <dgm:spPr/>
      <dgm:t>
        <a:bodyPr/>
        <a:lstStyle/>
        <a:p>
          <a:endParaRPr lang="ru-RU"/>
        </a:p>
      </dgm:t>
    </dgm:pt>
    <dgm:pt modelId="{AB03ABAB-9109-4FB5-8CF0-455E65D0928C}" type="sibTrans" cxnId="{04C52851-A186-4842-BAC9-0C59AA330B08}">
      <dgm:prSet/>
      <dgm:spPr/>
      <dgm:t>
        <a:bodyPr/>
        <a:lstStyle/>
        <a:p>
          <a:endParaRPr lang="ru-RU"/>
        </a:p>
      </dgm:t>
    </dgm:pt>
    <dgm:pt modelId="{82ABA895-2CAC-4A31-82DC-B532A12C4334}">
      <dgm:prSet phldrT="[Текст]"/>
      <dgm:spPr/>
      <dgm:t>
        <a:bodyPr/>
        <a:lstStyle/>
        <a:p>
          <a:r>
            <a:rPr lang="ru-RU" dirty="0" smtClean="0"/>
            <a:t>3</a:t>
          </a:r>
          <a:endParaRPr lang="ru-RU" dirty="0"/>
        </a:p>
      </dgm:t>
    </dgm:pt>
    <dgm:pt modelId="{B8EC1739-A7C6-47E9-8E4E-C231ABDCB3E3}" type="parTrans" cxnId="{9F02D01D-B90A-4632-8474-22A505F561B5}">
      <dgm:prSet/>
      <dgm:spPr/>
      <dgm:t>
        <a:bodyPr/>
        <a:lstStyle/>
        <a:p>
          <a:endParaRPr lang="ru-RU"/>
        </a:p>
      </dgm:t>
    </dgm:pt>
    <dgm:pt modelId="{37CEB5D0-4167-4100-A8F3-723636E473B9}" type="sibTrans" cxnId="{9F02D01D-B90A-4632-8474-22A505F561B5}">
      <dgm:prSet/>
      <dgm:spPr/>
      <dgm:t>
        <a:bodyPr/>
        <a:lstStyle/>
        <a:p>
          <a:endParaRPr lang="ru-RU"/>
        </a:p>
      </dgm:t>
    </dgm:pt>
    <dgm:pt modelId="{701E3060-7BDA-4607-B463-92CC1E6FE10A}">
      <dgm:prSet phldrT="[Текст]" custT="1"/>
      <dgm:spPr/>
      <dgm:t>
        <a:bodyPr/>
        <a:lstStyle/>
        <a:p>
          <a:pPr marL="0" marR="0" indent="0" algn="just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Провести визуализацию участка (место жительства всех обслуживаемых)</a:t>
          </a:r>
        </a:p>
      </dgm:t>
    </dgm:pt>
    <dgm:pt modelId="{A044C2B5-086E-4F5C-8AB3-B4F460408229}" type="parTrans" cxnId="{340F6031-EA09-4529-ACE6-2A7F91EE266A}">
      <dgm:prSet/>
      <dgm:spPr/>
      <dgm:t>
        <a:bodyPr/>
        <a:lstStyle/>
        <a:p>
          <a:endParaRPr lang="ru-RU"/>
        </a:p>
      </dgm:t>
    </dgm:pt>
    <dgm:pt modelId="{26F19CD0-105B-4DD9-99DE-074396AAD058}" type="sibTrans" cxnId="{340F6031-EA09-4529-ACE6-2A7F91EE266A}">
      <dgm:prSet/>
      <dgm:spPr/>
      <dgm:t>
        <a:bodyPr/>
        <a:lstStyle/>
        <a:p>
          <a:endParaRPr lang="ru-RU"/>
        </a:p>
      </dgm:t>
    </dgm:pt>
    <dgm:pt modelId="{7D5BB715-04E4-4DF8-A82E-91B098F99650}" type="pres">
      <dgm:prSet presAssocID="{B05B5221-6E06-4387-BA23-4D4CE00A56E6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5E38FE4F-AB42-4774-BBF5-82E9FC4609FC}" type="pres">
      <dgm:prSet presAssocID="{B1B9901A-A606-44C3-9FA6-D5C9D222E89A}" presName="composite" presStyleCnt="0"/>
      <dgm:spPr/>
    </dgm:pt>
    <dgm:pt modelId="{9D2A0C0E-7201-4E3A-B19F-6161875424A4}" type="pres">
      <dgm:prSet presAssocID="{B1B9901A-A606-44C3-9FA6-D5C9D222E89A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DB5F4F8-5994-4E30-851F-1C748DE60247}" type="pres">
      <dgm:prSet presAssocID="{B1B9901A-A606-44C3-9FA6-D5C9D222E89A}" presName="descendantText" presStyleLbl="alignAcc1" presStyleIdx="0" presStyleCnt="3" custScaleY="10463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A2A0E25-B4A9-4194-AE77-23C747307900}" type="pres">
      <dgm:prSet presAssocID="{6497506E-ECF9-4316-BB8E-7E4295FB4B0E}" presName="sp" presStyleCnt="0"/>
      <dgm:spPr/>
    </dgm:pt>
    <dgm:pt modelId="{E582D862-6E29-41EE-9C68-B5DE655FC24B}" type="pres">
      <dgm:prSet presAssocID="{140A49E0-E848-4958-B4E1-47491E898D75}" presName="composite" presStyleCnt="0"/>
      <dgm:spPr/>
    </dgm:pt>
    <dgm:pt modelId="{82691D1F-ABC7-4EEE-836E-96952B349537}" type="pres">
      <dgm:prSet presAssocID="{140A49E0-E848-4958-B4E1-47491E898D75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C4BF7FF-AE08-45E5-B170-B2906805FC65}" type="pres">
      <dgm:prSet presAssocID="{140A49E0-E848-4958-B4E1-47491E898D75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9D76492-C3EB-4675-A550-ABE17BF48FAD}" type="pres">
      <dgm:prSet presAssocID="{8E4F5399-92B9-4D93-8016-0E48778808D8}" presName="sp" presStyleCnt="0"/>
      <dgm:spPr/>
    </dgm:pt>
    <dgm:pt modelId="{D6E790E6-88C4-4422-9288-70916D8D3DBC}" type="pres">
      <dgm:prSet presAssocID="{82ABA895-2CAC-4A31-82DC-B532A12C4334}" presName="composite" presStyleCnt="0"/>
      <dgm:spPr/>
    </dgm:pt>
    <dgm:pt modelId="{C4E7774B-5E71-45F5-9D31-ACDEA44DCB23}" type="pres">
      <dgm:prSet presAssocID="{82ABA895-2CAC-4A31-82DC-B532A12C4334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9AB8C7B-AD08-4EFE-8D7B-7F78782779DE}" type="pres">
      <dgm:prSet presAssocID="{82ABA895-2CAC-4A31-82DC-B532A12C4334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4E530EC-53DD-4E6D-8C83-6F8856AAD09F}" type="presOf" srcId="{701E3060-7BDA-4607-B463-92CC1E6FE10A}" destId="{39AB8C7B-AD08-4EFE-8D7B-7F78782779DE}" srcOrd="0" destOrd="0" presId="urn:microsoft.com/office/officeart/2005/8/layout/chevron2"/>
    <dgm:cxn modelId="{6DD45F85-DC5B-449E-BA06-5AE1CA66B7AD}" type="presOf" srcId="{F119E26A-BCBA-43E6-89BD-1C24223F7251}" destId="{1DB5F4F8-5994-4E30-851F-1C748DE60247}" srcOrd="0" destOrd="0" presId="urn:microsoft.com/office/officeart/2005/8/layout/chevron2"/>
    <dgm:cxn modelId="{E8A625B9-E50A-44E1-8466-EB84DF385EFA}" type="presOf" srcId="{82ABA895-2CAC-4A31-82DC-B532A12C4334}" destId="{C4E7774B-5E71-45F5-9D31-ACDEA44DCB23}" srcOrd="0" destOrd="0" presId="urn:microsoft.com/office/officeart/2005/8/layout/chevron2"/>
    <dgm:cxn modelId="{A169C3DE-FCDC-497D-912A-52BE8D64C77F}" srcId="{B05B5221-6E06-4387-BA23-4D4CE00A56E6}" destId="{140A49E0-E848-4958-B4E1-47491E898D75}" srcOrd="1" destOrd="0" parTransId="{F9A8CD72-F13C-450A-A568-5ADE2EF9F3AE}" sibTransId="{8E4F5399-92B9-4D93-8016-0E48778808D8}"/>
    <dgm:cxn modelId="{618CB938-3622-4A0A-BA08-3923F9BD2E7A}" srcId="{B1B9901A-A606-44C3-9FA6-D5C9D222E89A}" destId="{F119E26A-BCBA-43E6-89BD-1C24223F7251}" srcOrd="0" destOrd="0" parTransId="{CA4681AC-23CD-4BB5-BC1C-11BB600C48A5}" sibTransId="{A7F15D26-6CE3-4373-8D47-2DC54BCABEC1}"/>
    <dgm:cxn modelId="{2C0ED213-D027-465F-9D33-D51D432502A5}" type="presOf" srcId="{B1B9901A-A606-44C3-9FA6-D5C9D222E89A}" destId="{9D2A0C0E-7201-4E3A-B19F-6161875424A4}" srcOrd="0" destOrd="0" presId="urn:microsoft.com/office/officeart/2005/8/layout/chevron2"/>
    <dgm:cxn modelId="{0A0DA9AD-83D8-4201-BFEA-E8D97433DA27}" type="presOf" srcId="{B05B5221-6E06-4387-BA23-4D4CE00A56E6}" destId="{7D5BB715-04E4-4DF8-A82E-91B098F99650}" srcOrd="0" destOrd="0" presId="urn:microsoft.com/office/officeart/2005/8/layout/chevron2"/>
    <dgm:cxn modelId="{04C52851-A186-4842-BAC9-0C59AA330B08}" srcId="{140A49E0-E848-4958-B4E1-47491E898D75}" destId="{21FC950A-ABE4-422A-B34D-9CA50D656270}" srcOrd="0" destOrd="0" parTransId="{FEBFF8ED-FC01-49C9-B2F2-6A28E91D556C}" sibTransId="{AB03ABAB-9109-4FB5-8CF0-455E65D0928C}"/>
    <dgm:cxn modelId="{D18278DE-496F-4617-BECC-BA56D8549997}" srcId="{B05B5221-6E06-4387-BA23-4D4CE00A56E6}" destId="{B1B9901A-A606-44C3-9FA6-D5C9D222E89A}" srcOrd="0" destOrd="0" parTransId="{E129D9A4-725A-422F-A330-B48D6F8DD42D}" sibTransId="{6497506E-ECF9-4316-BB8E-7E4295FB4B0E}"/>
    <dgm:cxn modelId="{45C1B777-88B9-457C-A74D-D4BCD0843758}" type="presOf" srcId="{140A49E0-E848-4958-B4E1-47491E898D75}" destId="{82691D1F-ABC7-4EEE-836E-96952B349537}" srcOrd="0" destOrd="0" presId="urn:microsoft.com/office/officeart/2005/8/layout/chevron2"/>
    <dgm:cxn modelId="{340F6031-EA09-4529-ACE6-2A7F91EE266A}" srcId="{82ABA895-2CAC-4A31-82DC-B532A12C4334}" destId="{701E3060-7BDA-4607-B463-92CC1E6FE10A}" srcOrd="0" destOrd="0" parTransId="{A044C2B5-086E-4F5C-8AB3-B4F460408229}" sibTransId="{26F19CD0-105B-4DD9-99DE-074396AAD058}"/>
    <dgm:cxn modelId="{E6D75A9E-454C-42F5-93B9-5F2A1D24DBED}" type="presOf" srcId="{21FC950A-ABE4-422A-B34D-9CA50D656270}" destId="{3C4BF7FF-AE08-45E5-B170-B2906805FC65}" srcOrd="0" destOrd="0" presId="urn:microsoft.com/office/officeart/2005/8/layout/chevron2"/>
    <dgm:cxn modelId="{9F02D01D-B90A-4632-8474-22A505F561B5}" srcId="{B05B5221-6E06-4387-BA23-4D4CE00A56E6}" destId="{82ABA895-2CAC-4A31-82DC-B532A12C4334}" srcOrd="2" destOrd="0" parTransId="{B8EC1739-A7C6-47E9-8E4E-C231ABDCB3E3}" sibTransId="{37CEB5D0-4167-4100-A8F3-723636E473B9}"/>
    <dgm:cxn modelId="{9E8D460F-1EDA-4E32-9FD1-47BF76F11184}" type="presParOf" srcId="{7D5BB715-04E4-4DF8-A82E-91B098F99650}" destId="{5E38FE4F-AB42-4774-BBF5-82E9FC4609FC}" srcOrd="0" destOrd="0" presId="urn:microsoft.com/office/officeart/2005/8/layout/chevron2"/>
    <dgm:cxn modelId="{A68F4A17-F7FC-433D-BFAB-ABACEFE98453}" type="presParOf" srcId="{5E38FE4F-AB42-4774-BBF5-82E9FC4609FC}" destId="{9D2A0C0E-7201-4E3A-B19F-6161875424A4}" srcOrd="0" destOrd="0" presId="urn:microsoft.com/office/officeart/2005/8/layout/chevron2"/>
    <dgm:cxn modelId="{70C5F318-4601-4492-9165-4B5FA71947C1}" type="presParOf" srcId="{5E38FE4F-AB42-4774-BBF5-82E9FC4609FC}" destId="{1DB5F4F8-5994-4E30-851F-1C748DE60247}" srcOrd="1" destOrd="0" presId="urn:microsoft.com/office/officeart/2005/8/layout/chevron2"/>
    <dgm:cxn modelId="{993BD559-2E60-4B5E-8F6A-CEA8A9365489}" type="presParOf" srcId="{7D5BB715-04E4-4DF8-A82E-91B098F99650}" destId="{7A2A0E25-B4A9-4194-AE77-23C747307900}" srcOrd="1" destOrd="0" presId="urn:microsoft.com/office/officeart/2005/8/layout/chevron2"/>
    <dgm:cxn modelId="{A264F189-162F-4AF2-A1AF-8A2FAC6ACD9C}" type="presParOf" srcId="{7D5BB715-04E4-4DF8-A82E-91B098F99650}" destId="{E582D862-6E29-41EE-9C68-B5DE655FC24B}" srcOrd="2" destOrd="0" presId="urn:microsoft.com/office/officeart/2005/8/layout/chevron2"/>
    <dgm:cxn modelId="{4E11E951-20EF-4E4C-9EB7-CE13CE82849D}" type="presParOf" srcId="{E582D862-6E29-41EE-9C68-B5DE655FC24B}" destId="{82691D1F-ABC7-4EEE-836E-96952B349537}" srcOrd="0" destOrd="0" presId="urn:microsoft.com/office/officeart/2005/8/layout/chevron2"/>
    <dgm:cxn modelId="{502B65D4-4EB6-49B5-9F15-EF6DC6A3AE59}" type="presParOf" srcId="{E582D862-6E29-41EE-9C68-B5DE655FC24B}" destId="{3C4BF7FF-AE08-45E5-B170-B2906805FC65}" srcOrd="1" destOrd="0" presId="urn:microsoft.com/office/officeart/2005/8/layout/chevron2"/>
    <dgm:cxn modelId="{4A1CF9F3-AE73-4E70-AFD9-03808B9BD3E6}" type="presParOf" srcId="{7D5BB715-04E4-4DF8-A82E-91B098F99650}" destId="{89D76492-C3EB-4675-A550-ABE17BF48FAD}" srcOrd="3" destOrd="0" presId="urn:microsoft.com/office/officeart/2005/8/layout/chevron2"/>
    <dgm:cxn modelId="{8E550CD0-C9F4-4249-B368-C42F42B171EF}" type="presParOf" srcId="{7D5BB715-04E4-4DF8-A82E-91B098F99650}" destId="{D6E790E6-88C4-4422-9288-70916D8D3DBC}" srcOrd="4" destOrd="0" presId="urn:microsoft.com/office/officeart/2005/8/layout/chevron2"/>
    <dgm:cxn modelId="{76961649-75FA-4125-97F6-DB03DE98AD7B}" type="presParOf" srcId="{D6E790E6-88C4-4422-9288-70916D8D3DBC}" destId="{C4E7774B-5E71-45F5-9D31-ACDEA44DCB23}" srcOrd="0" destOrd="0" presId="urn:microsoft.com/office/officeart/2005/8/layout/chevron2"/>
    <dgm:cxn modelId="{D3C397C8-9142-47F1-87A3-DD4A54183F86}" type="presParOf" srcId="{D6E790E6-88C4-4422-9288-70916D8D3DBC}" destId="{39AB8C7B-AD08-4EFE-8D7B-7F78782779DE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0B3DBC2-7F54-4A55-9680-174B00A350C3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AC8173C5-D57D-4791-ACFA-A38975A4A2E5}">
      <dgm:prSet phldrT="[Текст]"/>
      <dgm:spPr/>
      <dgm:t>
        <a:bodyPr/>
        <a:lstStyle/>
        <a:p>
          <a:r>
            <a:rPr lang="ru-RU" dirty="0" smtClean="0"/>
            <a:t>4</a:t>
          </a:r>
          <a:endParaRPr lang="ru-RU" dirty="0"/>
        </a:p>
      </dgm:t>
    </dgm:pt>
    <dgm:pt modelId="{FEFA99AD-0C0A-4B67-9856-92A68B990B53}" type="parTrans" cxnId="{58E0ED7D-89AC-4277-8080-B18572EDE4F0}">
      <dgm:prSet/>
      <dgm:spPr/>
      <dgm:t>
        <a:bodyPr/>
        <a:lstStyle/>
        <a:p>
          <a:endParaRPr lang="ru-RU"/>
        </a:p>
      </dgm:t>
    </dgm:pt>
    <dgm:pt modelId="{2330E70F-8979-406D-A710-6B2B9B30256B}" type="sibTrans" cxnId="{58E0ED7D-89AC-4277-8080-B18572EDE4F0}">
      <dgm:prSet/>
      <dgm:spPr/>
      <dgm:t>
        <a:bodyPr/>
        <a:lstStyle/>
        <a:p>
          <a:endParaRPr lang="ru-RU"/>
        </a:p>
      </dgm:t>
    </dgm:pt>
    <dgm:pt modelId="{D479B764-5F3D-4DCC-BE39-1A6842DBDB70}">
      <dgm:prSet phldrT="[Текст]" custT="1"/>
      <dgm:spPr/>
      <dgm:t>
        <a:bodyPr/>
        <a:lstStyle/>
        <a:p>
          <a:pPr marL="0" marR="0" indent="0" algn="just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Проанализировать локацию  всех значимых торговых точек, которые будут задействованы в процессе выполнения социального обслуживания</a:t>
          </a:r>
        </a:p>
        <a:p>
          <a:pPr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</a:pPr>
          <a:endParaRPr lang="ru-RU" sz="1400" b="1" dirty="0">
            <a:solidFill>
              <a:schemeClr val="tx1"/>
            </a:solidFill>
          </a:endParaRPr>
        </a:p>
      </dgm:t>
    </dgm:pt>
    <dgm:pt modelId="{DD48C5D4-EB06-4FB1-8ABC-2C9E3BB0261A}" type="parTrans" cxnId="{BC0409BE-9EA3-43A1-911C-88271CEEE943}">
      <dgm:prSet/>
      <dgm:spPr/>
      <dgm:t>
        <a:bodyPr/>
        <a:lstStyle/>
        <a:p>
          <a:endParaRPr lang="ru-RU"/>
        </a:p>
      </dgm:t>
    </dgm:pt>
    <dgm:pt modelId="{8D8A2E2A-B90C-42F6-BFD4-67DFF8E72BE4}" type="sibTrans" cxnId="{BC0409BE-9EA3-43A1-911C-88271CEEE943}">
      <dgm:prSet/>
      <dgm:spPr/>
      <dgm:t>
        <a:bodyPr/>
        <a:lstStyle/>
        <a:p>
          <a:endParaRPr lang="ru-RU"/>
        </a:p>
      </dgm:t>
    </dgm:pt>
    <dgm:pt modelId="{56812A52-89DB-4102-8782-CA7FA9E4FEA5}">
      <dgm:prSet phldrT="[Текст]"/>
      <dgm:spPr/>
      <dgm:t>
        <a:bodyPr/>
        <a:lstStyle/>
        <a:p>
          <a:r>
            <a:rPr lang="ru-RU" dirty="0" smtClean="0"/>
            <a:t>5</a:t>
          </a:r>
          <a:endParaRPr lang="ru-RU" dirty="0"/>
        </a:p>
      </dgm:t>
    </dgm:pt>
    <dgm:pt modelId="{6A46CD5F-BEC1-4089-9C54-E18584CD3B8B}" type="parTrans" cxnId="{0B5A55A0-B6AC-4AA6-A1DA-3D266D1C09FA}">
      <dgm:prSet/>
      <dgm:spPr/>
      <dgm:t>
        <a:bodyPr/>
        <a:lstStyle/>
        <a:p>
          <a:endParaRPr lang="ru-RU"/>
        </a:p>
      </dgm:t>
    </dgm:pt>
    <dgm:pt modelId="{C6D0AD76-E7FD-485C-8584-BB5286E8B11E}" type="sibTrans" cxnId="{0B5A55A0-B6AC-4AA6-A1DA-3D266D1C09FA}">
      <dgm:prSet/>
      <dgm:spPr/>
      <dgm:t>
        <a:bodyPr/>
        <a:lstStyle/>
        <a:p>
          <a:endParaRPr lang="ru-RU"/>
        </a:p>
      </dgm:t>
    </dgm:pt>
    <dgm:pt modelId="{B99C799E-BCB0-4A25-8FB8-47AC395FE1F0}">
      <dgm:prSet phldrT="[Текст]" custT="1"/>
      <dgm:spPr/>
      <dgm:t>
        <a:bodyPr/>
        <a:lstStyle/>
        <a:p>
          <a:pPr marL="0" marR="0" indent="0" algn="just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Составить</a:t>
          </a:r>
          <a:r>
            <a:rPr lang="ru-RU" sz="1400" b="1" dirty="0" smtClean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график посещения граждан пожилого возраста, с учетом всех вышеперечисленных условий</a:t>
          </a:r>
          <a:endParaRPr lang="ru-RU" sz="1400" b="1" dirty="0">
            <a:solidFill>
              <a:schemeClr val="tx1"/>
            </a:solidFill>
          </a:endParaRPr>
        </a:p>
      </dgm:t>
    </dgm:pt>
    <dgm:pt modelId="{D37FCD47-88E8-4BB7-9185-E5E840F531A7}" type="parTrans" cxnId="{17EAA8BA-8D6F-4E24-BA46-7549FD941BF0}">
      <dgm:prSet/>
      <dgm:spPr/>
      <dgm:t>
        <a:bodyPr/>
        <a:lstStyle/>
        <a:p>
          <a:endParaRPr lang="ru-RU"/>
        </a:p>
      </dgm:t>
    </dgm:pt>
    <dgm:pt modelId="{407889A3-7438-4B52-8E5D-F0FFE45BBF78}" type="sibTrans" cxnId="{17EAA8BA-8D6F-4E24-BA46-7549FD941BF0}">
      <dgm:prSet/>
      <dgm:spPr/>
      <dgm:t>
        <a:bodyPr/>
        <a:lstStyle/>
        <a:p>
          <a:endParaRPr lang="ru-RU"/>
        </a:p>
      </dgm:t>
    </dgm:pt>
    <dgm:pt modelId="{8BCDA44C-17D0-4076-9323-B1F9536B708A}">
      <dgm:prSet phldrT="[Текст]"/>
      <dgm:spPr/>
      <dgm:t>
        <a:bodyPr/>
        <a:lstStyle/>
        <a:p>
          <a:r>
            <a:rPr lang="ru-RU" dirty="0" smtClean="0"/>
            <a:t>6</a:t>
          </a:r>
          <a:endParaRPr lang="ru-RU" dirty="0"/>
        </a:p>
      </dgm:t>
    </dgm:pt>
    <dgm:pt modelId="{2397A7BB-172E-45E7-A589-57DD96FD3024}" type="parTrans" cxnId="{4A764DC2-95EE-4B00-884F-35F3349466A5}">
      <dgm:prSet/>
      <dgm:spPr/>
      <dgm:t>
        <a:bodyPr/>
        <a:lstStyle/>
        <a:p>
          <a:endParaRPr lang="ru-RU"/>
        </a:p>
      </dgm:t>
    </dgm:pt>
    <dgm:pt modelId="{18D6467D-FF4E-40AC-8BD1-37BAA37E2754}" type="sibTrans" cxnId="{4A764DC2-95EE-4B00-884F-35F3349466A5}">
      <dgm:prSet/>
      <dgm:spPr/>
      <dgm:t>
        <a:bodyPr/>
        <a:lstStyle/>
        <a:p>
          <a:endParaRPr lang="ru-RU"/>
        </a:p>
      </dgm:t>
    </dgm:pt>
    <dgm:pt modelId="{1BD87A00-7EF7-4A5B-8C40-4FA217F45FE5}">
      <dgm:prSet phldrT="[Текст]" custT="1"/>
      <dgm:spPr/>
      <dgm:t>
        <a:bodyPr/>
        <a:lstStyle/>
        <a:p>
          <a:pPr marL="0" marR="0" indent="0" algn="just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Ознакомить</a:t>
          </a:r>
          <a:r>
            <a:rPr lang="ru-RU" sz="1400" b="1" dirty="0" smtClean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rPr>
            <a:t> обслуживаемых с графиком посещений</a:t>
          </a:r>
          <a:endParaRPr lang="ru-RU" sz="1400" b="1" dirty="0">
            <a:solidFill>
              <a:schemeClr val="accent1">
                <a:lumMod val="50000"/>
              </a:schemeClr>
            </a:solidFill>
          </a:endParaRPr>
        </a:p>
      </dgm:t>
    </dgm:pt>
    <dgm:pt modelId="{6E2FE736-01EE-4D79-B584-E0A4BF7A5404}" type="parTrans" cxnId="{CFCD8EEA-09D1-4E2F-A8D4-ADA317079293}">
      <dgm:prSet/>
      <dgm:spPr/>
      <dgm:t>
        <a:bodyPr/>
        <a:lstStyle/>
        <a:p>
          <a:endParaRPr lang="ru-RU"/>
        </a:p>
      </dgm:t>
    </dgm:pt>
    <dgm:pt modelId="{8B3D5145-34F3-4CC0-97B1-108160FA5347}" type="sibTrans" cxnId="{CFCD8EEA-09D1-4E2F-A8D4-ADA317079293}">
      <dgm:prSet/>
      <dgm:spPr/>
      <dgm:t>
        <a:bodyPr/>
        <a:lstStyle/>
        <a:p>
          <a:endParaRPr lang="ru-RU"/>
        </a:p>
      </dgm:t>
    </dgm:pt>
    <dgm:pt modelId="{F40CA413-8F65-4B59-B677-9803DF056326}" type="pres">
      <dgm:prSet presAssocID="{F0B3DBC2-7F54-4A55-9680-174B00A350C3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FEEEA5F-C920-4391-B242-D302BFA1E06A}" type="pres">
      <dgm:prSet presAssocID="{AC8173C5-D57D-4791-ACFA-A38975A4A2E5}" presName="composite" presStyleCnt="0"/>
      <dgm:spPr/>
    </dgm:pt>
    <dgm:pt modelId="{139A6598-7262-4776-B052-3354E898071F}" type="pres">
      <dgm:prSet presAssocID="{AC8173C5-D57D-4791-ACFA-A38975A4A2E5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A72136E-A53B-4E74-9683-FA2FFB9874F2}" type="pres">
      <dgm:prSet presAssocID="{AC8173C5-D57D-4791-ACFA-A38975A4A2E5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75A043B-29A4-4453-854D-6EAD53CD0532}" type="pres">
      <dgm:prSet presAssocID="{2330E70F-8979-406D-A710-6B2B9B30256B}" presName="sp" presStyleCnt="0"/>
      <dgm:spPr/>
    </dgm:pt>
    <dgm:pt modelId="{277DF268-1D19-4689-B692-00ACC5081E21}" type="pres">
      <dgm:prSet presAssocID="{56812A52-89DB-4102-8782-CA7FA9E4FEA5}" presName="composite" presStyleCnt="0"/>
      <dgm:spPr/>
    </dgm:pt>
    <dgm:pt modelId="{C5AE1825-E5AE-4214-9CBC-8FE9D2ED6660}" type="pres">
      <dgm:prSet presAssocID="{56812A52-89DB-4102-8782-CA7FA9E4FEA5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99820EE-C94E-4930-871D-F270C5C39D06}" type="pres">
      <dgm:prSet presAssocID="{56812A52-89DB-4102-8782-CA7FA9E4FEA5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0DE7C56-3FC3-4FC8-BF96-8E606AB74F0F}" type="pres">
      <dgm:prSet presAssocID="{C6D0AD76-E7FD-485C-8584-BB5286E8B11E}" presName="sp" presStyleCnt="0"/>
      <dgm:spPr/>
    </dgm:pt>
    <dgm:pt modelId="{E802F64B-62E6-49E6-BD71-8614DE786B90}" type="pres">
      <dgm:prSet presAssocID="{8BCDA44C-17D0-4076-9323-B1F9536B708A}" presName="composite" presStyleCnt="0"/>
      <dgm:spPr/>
    </dgm:pt>
    <dgm:pt modelId="{866B1B14-D088-4A18-B6F4-DB754F8A79E3}" type="pres">
      <dgm:prSet presAssocID="{8BCDA44C-17D0-4076-9323-B1F9536B708A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9ACD72-87F4-45AC-9A91-C63C92025FD0}" type="pres">
      <dgm:prSet presAssocID="{8BCDA44C-17D0-4076-9323-B1F9536B708A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0E38D31-F0E1-470F-A5AE-7CFFE8C5821D}" type="presOf" srcId="{1BD87A00-7EF7-4A5B-8C40-4FA217F45FE5}" destId="{7C9ACD72-87F4-45AC-9A91-C63C92025FD0}" srcOrd="0" destOrd="0" presId="urn:microsoft.com/office/officeart/2005/8/layout/chevron2"/>
    <dgm:cxn modelId="{9344D8F8-C43C-4B63-85CE-0DB005A6A783}" type="presOf" srcId="{B99C799E-BCB0-4A25-8FB8-47AC395FE1F0}" destId="{599820EE-C94E-4930-871D-F270C5C39D06}" srcOrd="0" destOrd="0" presId="urn:microsoft.com/office/officeart/2005/8/layout/chevron2"/>
    <dgm:cxn modelId="{0B5A55A0-B6AC-4AA6-A1DA-3D266D1C09FA}" srcId="{F0B3DBC2-7F54-4A55-9680-174B00A350C3}" destId="{56812A52-89DB-4102-8782-CA7FA9E4FEA5}" srcOrd="1" destOrd="0" parTransId="{6A46CD5F-BEC1-4089-9C54-E18584CD3B8B}" sibTransId="{C6D0AD76-E7FD-485C-8584-BB5286E8B11E}"/>
    <dgm:cxn modelId="{58E0ED7D-89AC-4277-8080-B18572EDE4F0}" srcId="{F0B3DBC2-7F54-4A55-9680-174B00A350C3}" destId="{AC8173C5-D57D-4791-ACFA-A38975A4A2E5}" srcOrd="0" destOrd="0" parTransId="{FEFA99AD-0C0A-4B67-9856-92A68B990B53}" sibTransId="{2330E70F-8979-406D-A710-6B2B9B30256B}"/>
    <dgm:cxn modelId="{0C139076-4BD3-4B2C-9244-F858C5C79493}" type="presOf" srcId="{F0B3DBC2-7F54-4A55-9680-174B00A350C3}" destId="{F40CA413-8F65-4B59-B677-9803DF056326}" srcOrd="0" destOrd="0" presId="urn:microsoft.com/office/officeart/2005/8/layout/chevron2"/>
    <dgm:cxn modelId="{4A764DC2-95EE-4B00-884F-35F3349466A5}" srcId="{F0B3DBC2-7F54-4A55-9680-174B00A350C3}" destId="{8BCDA44C-17D0-4076-9323-B1F9536B708A}" srcOrd="2" destOrd="0" parTransId="{2397A7BB-172E-45E7-A589-57DD96FD3024}" sibTransId="{18D6467D-FF4E-40AC-8BD1-37BAA37E2754}"/>
    <dgm:cxn modelId="{CFFAB3A9-AAF9-48DB-900A-CA4856CD560E}" type="presOf" srcId="{AC8173C5-D57D-4791-ACFA-A38975A4A2E5}" destId="{139A6598-7262-4776-B052-3354E898071F}" srcOrd="0" destOrd="0" presId="urn:microsoft.com/office/officeart/2005/8/layout/chevron2"/>
    <dgm:cxn modelId="{060ADF0B-0C13-4EE8-8D58-2F506168E208}" type="presOf" srcId="{D479B764-5F3D-4DCC-BE39-1A6842DBDB70}" destId="{8A72136E-A53B-4E74-9683-FA2FFB9874F2}" srcOrd="0" destOrd="0" presId="urn:microsoft.com/office/officeart/2005/8/layout/chevron2"/>
    <dgm:cxn modelId="{17EAA8BA-8D6F-4E24-BA46-7549FD941BF0}" srcId="{56812A52-89DB-4102-8782-CA7FA9E4FEA5}" destId="{B99C799E-BCB0-4A25-8FB8-47AC395FE1F0}" srcOrd="0" destOrd="0" parTransId="{D37FCD47-88E8-4BB7-9185-E5E840F531A7}" sibTransId="{407889A3-7438-4B52-8E5D-F0FFE45BBF78}"/>
    <dgm:cxn modelId="{BC0409BE-9EA3-43A1-911C-88271CEEE943}" srcId="{AC8173C5-D57D-4791-ACFA-A38975A4A2E5}" destId="{D479B764-5F3D-4DCC-BE39-1A6842DBDB70}" srcOrd="0" destOrd="0" parTransId="{DD48C5D4-EB06-4FB1-8ABC-2C9E3BB0261A}" sibTransId="{8D8A2E2A-B90C-42F6-BFD4-67DFF8E72BE4}"/>
    <dgm:cxn modelId="{E6526778-3297-403F-BE47-0FF9D3490DA9}" type="presOf" srcId="{56812A52-89DB-4102-8782-CA7FA9E4FEA5}" destId="{C5AE1825-E5AE-4214-9CBC-8FE9D2ED6660}" srcOrd="0" destOrd="0" presId="urn:microsoft.com/office/officeart/2005/8/layout/chevron2"/>
    <dgm:cxn modelId="{CFCD8EEA-09D1-4E2F-A8D4-ADA317079293}" srcId="{8BCDA44C-17D0-4076-9323-B1F9536B708A}" destId="{1BD87A00-7EF7-4A5B-8C40-4FA217F45FE5}" srcOrd="0" destOrd="0" parTransId="{6E2FE736-01EE-4D79-B584-E0A4BF7A5404}" sibTransId="{8B3D5145-34F3-4CC0-97B1-108160FA5347}"/>
    <dgm:cxn modelId="{A09740DF-42C9-4311-AEB1-82E151EFF006}" type="presOf" srcId="{8BCDA44C-17D0-4076-9323-B1F9536B708A}" destId="{866B1B14-D088-4A18-B6F4-DB754F8A79E3}" srcOrd="0" destOrd="0" presId="urn:microsoft.com/office/officeart/2005/8/layout/chevron2"/>
    <dgm:cxn modelId="{60ACDADF-CAE0-4639-A5A9-2951DC85C36A}" type="presParOf" srcId="{F40CA413-8F65-4B59-B677-9803DF056326}" destId="{0FEEEA5F-C920-4391-B242-D302BFA1E06A}" srcOrd="0" destOrd="0" presId="urn:microsoft.com/office/officeart/2005/8/layout/chevron2"/>
    <dgm:cxn modelId="{85150557-D179-4620-A413-FF9B5F31ECB4}" type="presParOf" srcId="{0FEEEA5F-C920-4391-B242-D302BFA1E06A}" destId="{139A6598-7262-4776-B052-3354E898071F}" srcOrd="0" destOrd="0" presId="urn:microsoft.com/office/officeart/2005/8/layout/chevron2"/>
    <dgm:cxn modelId="{A76F1F4D-428B-428F-8C09-862D5ECB1F95}" type="presParOf" srcId="{0FEEEA5F-C920-4391-B242-D302BFA1E06A}" destId="{8A72136E-A53B-4E74-9683-FA2FFB9874F2}" srcOrd="1" destOrd="0" presId="urn:microsoft.com/office/officeart/2005/8/layout/chevron2"/>
    <dgm:cxn modelId="{2700EE4D-34B5-4FAE-8CB1-33188DFD1A8B}" type="presParOf" srcId="{F40CA413-8F65-4B59-B677-9803DF056326}" destId="{575A043B-29A4-4453-854D-6EAD53CD0532}" srcOrd="1" destOrd="0" presId="urn:microsoft.com/office/officeart/2005/8/layout/chevron2"/>
    <dgm:cxn modelId="{776406E3-42E9-4ED9-AF7F-C48CD321B130}" type="presParOf" srcId="{F40CA413-8F65-4B59-B677-9803DF056326}" destId="{277DF268-1D19-4689-B692-00ACC5081E21}" srcOrd="2" destOrd="0" presId="urn:microsoft.com/office/officeart/2005/8/layout/chevron2"/>
    <dgm:cxn modelId="{B2924D77-9377-46CC-BBB0-EA7B426E5167}" type="presParOf" srcId="{277DF268-1D19-4689-B692-00ACC5081E21}" destId="{C5AE1825-E5AE-4214-9CBC-8FE9D2ED6660}" srcOrd="0" destOrd="0" presId="urn:microsoft.com/office/officeart/2005/8/layout/chevron2"/>
    <dgm:cxn modelId="{C9F49443-8DBD-417B-915E-5334A6FED70D}" type="presParOf" srcId="{277DF268-1D19-4689-B692-00ACC5081E21}" destId="{599820EE-C94E-4930-871D-F270C5C39D06}" srcOrd="1" destOrd="0" presId="urn:microsoft.com/office/officeart/2005/8/layout/chevron2"/>
    <dgm:cxn modelId="{43C9C9AC-611B-4361-96D3-03D26C6154AE}" type="presParOf" srcId="{F40CA413-8F65-4B59-B677-9803DF056326}" destId="{30DE7C56-3FC3-4FC8-BF96-8E606AB74F0F}" srcOrd="3" destOrd="0" presId="urn:microsoft.com/office/officeart/2005/8/layout/chevron2"/>
    <dgm:cxn modelId="{A3395355-758A-4167-B9EF-99C483E8BF67}" type="presParOf" srcId="{F40CA413-8F65-4B59-B677-9803DF056326}" destId="{E802F64B-62E6-49E6-BD71-8614DE786B90}" srcOrd="4" destOrd="0" presId="urn:microsoft.com/office/officeart/2005/8/layout/chevron2"/>
    <dgm:cxn modelId="{3CE07511-9B10-4832-A7A2-CC038DAAD4D3}" type="presParOf" srcId="{E802F64B-62E6-49E6-BD71-8614DE786B90}" destId="{866B1B14-D088-4A18-B6F4-DB754F8A79E3}" srcOrd="0" destOrd="0" presId="urn:microsoft.com/office/officeart/2005/8/layout/chevron2"/>
    <dgm:cxn modelId="{30E398EB-FA43-4849-A12C-62F31A1DF734}" type="presParOf" srcId="{E802F64B-62E6-49E6-BD71-8614DE786B90}" destId="{7C9ACD72-87F4-45AC-9A91-C63C92025FD0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xmlns="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EF0957E-BF82-4DA5-B252-08D21340D399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617E65BF-9735-4FAE-BBEA-0ACE6CFB79CC}" type="pres">
      <dgm:prSet presAssocID="{7EF0957E-BF82-4DA5-B252-08D21340D399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</dgm:ptLst>
  <dgm:cxnLst>
    <dgm:cxn modelId="{B6679E78-94B4-487D-8837-6AE84F7A595C}" type="presOf" srcId="{7EF0957E-BF82-4DA5-B252-08D21340D399}" destId="{617E65BF-9735-4FAE-BBEA-0ACE6CFB79CC}" srcOrd="0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8CDC538B-FADB-4501-855D-633C545FEB6E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700FC29-A717-4EA1-814D-B6CBA1DD27ED}">
      <dgm:prSet phldrT="[Текст]"/>
      <dgm:spPr/>
      <dgm:t>
        <a:bodyPr/>
        <a:lstStyle/>
        <a:p>
          <a:r>
            <a:rPr lang="ru-RU" dirty="0" smtClean="0"/>
            <a:t>1</a:t>
          </a:r>
          <a:endParaRPr lang="ru-RU" dirty="0"/>
        </a:p>
      </dgm:t>
    </dgm:pt>
    <dgm:pt modelId="{F2A376A9-FE1F-4AEA-AE57-2A8F965A11E5}" type="parTrans" cxnId="{F3F73E0F-2190-47A0-818F-9B4C5E65EEA7}">
      <dgm:prSet/>
      <dgm:spPr/>
      <dgm:t>
        <a:bodyPr/>
        <a:lstStyle/>
        <a:p>
          <a:endParaRPr lang="ru-RU"/>
        </a:p>
      </dgm:t>
    </dgm:pt>
    <dgm:pt modelId="{0BA7AD1B-FEA1-4C71-8840-0C12041071F8}" type="sibTrans" cxnId="{F3F73E0F-2190-47A0-818F-9B4C5E65EEA7}">
      <dgm:prSet/>
      <dgm:spPr/>
      <dgm:t>
        <a:bodyPr/>
        <a:lstStyle/>
        <a:p>
          <a:endParaRPr lang="ru-RU"/>
        </a:p>
      </dgm:t>
    </dgm:pt>
    <dgm:pt modelId="{C8496FEF-35B3-4B59-A1E2-E102C9D4C9D2}">
      <dgm:prSet phldrT="[Текст]"/>
      <dgm:spPr/>
      <dgm:t>
        <a:bodyPr/>
        <a:lstStyle/>
        <a:p>
          <a:r>
            <a:rPr lang="ru-RU" dirty="0" smtClean="0"/>
            <a:t>«Оптимизация процесса оказания услуг пенсионерам, инвалидам и детям инвалидам в части обеспечения  лекарственными средствами и изделиями медицинского назначения»</a:t>
          </a:r>
          <a:endParaRPr lang="ru-RU" dirty="0"/>
        </a:p>
      </dgm:t>
    </dgm:pt>
    <dgm:pt modelId="{C6C6C1EA-F87D-4AE4-B16A-2F1F19A0CF30}" type="parTrans" cxnId="{FBBBDAC5-E9E9-4F37-987A-1338A4DECCFF}">
      <dgm:prSet/>
      <dgm:spPr/>
      <dgm:t>
        <a:bodyPr/>
        <a:lstStyle/>
        <a:p>
          <a:endParaRPr lang="ru-RU"/>
        </a:p>
      </dgm:t>
    </dgm:pt>
    <dgm:pt modelId="{AD343B06-C93F-4B76-AAB1-3518D298D755}" type="sibTrans" cxnId="{FBBBDAC5-E9E9-4F37-987A-1338A4DECCFF}">
      <dgm:prSet/>
      <dgm:spPr/>
      <dgm:t>
        <a:bodyPr/>
        <a:lstStyle/>
        <a:p>
          <a:endParaRPr lang="ru-RU"/>
        </a:p>
      </dgm:t>
    </dgm:pt>
    <dgm:pt modelId="{85B354B1-6BA4-467B-AC69-01E6297B46DA}">
      <dgm:prSet phldrT="[Текст]"/>
      <dgm:spPr/>
      <dgm:t>
        <a:bodyPr/>
        <a:lstStyle/>
        <a:p>
          <a:r>
            <a:rPr lang="ru-RU" dirty="0" smtClean="0"/>
            <a:t>2</a:t>
          </a:r>
          <a:endParaRPr lang="ru-RU" dirty="0"/>
        </a:p>
      </dgm:t>
    </dgm:pt>
    <dgm:pt modelId="{7DBEAC0F-7D1F-4F29-B9EE-FA5A1657CB17}" type="parTrans" cxnId="{990C0817-CFE6-451A-AB37-5124A6B27948}">
      <dgm:prSet/>
      <dgm:spPr/>
      <dgm:t>
        <a:bodyPr/>
        <a:lstStyle/>
        <a:p>
          <a:endParaRPr lang="ru-RU"/>
        </a:p>
      </dgm:t>
    </dgm:pt>
    <dgm:pt modelId="{0D44464A-EAA9-44F9-9C0E-3A4427DCF2A7}" type="sibTrans" cxnId="{990C0817-CFE6-451A-AB37-5124A6B27948}">
      <dgm:prSet/>
      <dgm:spPr/>
      <dgm:t>
        <a:bodyPr/>
        <a:lstStyle/>
        <a:p>
          <a:endParaRPr lang="ru-RU"/>
        </a:p>
      </dgm:t>
    </dgm:pt>
    <dgm:pt modelId="{C13ED5E8-FBC9-4F90-B637-B159B9CE3663}">
      <dgm:prSet phldrT="[Текст]"/>
      <dgm:spPr/>
      <dgm:t>
        <a:bodyPr/>
        <a:lstStyle/>
        <a:p>
          <a:r>
            <a:rPr lang="ru-RU" dirty="0" smtClean="0"/>
            <a:t>«Оптимизация процесса оказания услуг пенсионерам, инвалидам и детям инвалидам в части обеспечения продовольственными и промышленными товарами»</a:t>
          </a:r>
          <a:endParaRPr lang="ru-RU" dirty="0"/>
        </a:p>
      </dgm:t>
    </dgm:pt>
    <dgm:pt modelId="{389461A9-66D1-4834-A5E3-D86B7C44D7CB}" type="parTrans" cxnId="{9B6D554B-CC81-4DEE-9953-E0D2DA6310D6}">
      <dgm:prSet/>
      <dgm:spPr/>
      <dgm:t>
        <a:bodyPr/>
        <a:lstStyle/>
        <a:p>
          <a:endParaRPr lang="ru-RU"/>
        </a:p>
      </dgm:t>
    </dgm:pt>
    <dgm:pt modelId="{5EA9A29B-D99E-48C8-9888-692C15283154}" type="sibTrans" cxnId="{9B6D554B-CC81-4DEE-9953-E0D2DA6310D6}">
      <dgm:prSet/>
      <dgm:spPr/>
      <dgm:t>
        <a:bodyPr/>
        <a:lstStyle/>
        <a:p>
          <a:endParaRPr lang="ru-RU"/>
        </a:p>
      </dgm:t>
    </dgm:pt>
    <dgm:pt modelId="{594741A2-E1D6-4D87-8E14-9F999990CFAC}">
      <dgm:prSet phldrT="[Текст]"/>
      <dgm:spPr/>
      <dgm:t>
        <a:bodyPr/>
        <a:lstStyle/>
        <a:p>
          <a:r>
            <a:rPr lang="ru-RU" dirty="0" smtClean="0"/>
            <a:t>3</a:t>
          </a:r>
          <a:endParaRPr lang="ru-RU" dirty="0"/>
        </a:p>
      </dgm:t>
    </dgm:pt>
    <dgm:pt modelId="{B9706A7B-3227-4EE7-887B-46DDAD7ACBBD}" type="parTrans" cxnId="{9BCFDCCE-7008-4A9B-B665-2BAF91FB99D8}">
      <dgm:prSet/>
      <dgm:spPr/>
      <dgm:t>
        <a:bodyPr/>
        <a:lstStyle/>
        <a:p>
          <a:endParaRPr lang="ru-RU"/>
        </a:p>
      </dgm:t>
    </dgm:pt>
    <dgm:pt modelId="{D23613E1-9843-4B05-A9B0-C81B499DA5F6}" type="sibTrans" cxnId="{9BCFDCCE-7008-4A9B-B665-2BAF91FB99D8}">
      <dgm:prSet/>
      <dgm:spPr/>
      <dgm:t>
        <a:bodyPr/>
        <a:lstStyle/>
        <a:p>
          <a:endParaRPr lang="ru-RU"/>
        </a:p>
      </dgm:t>
    </dgm:pt>
    <dgm:pt modelId="{B38C4C9F-5934-498D-BF84-FF295356EB56}">
      <dgm:prSet phldrT="[Текст]"/>
      <dgm:spPr/>
      <dgm:t>
        <a:bodyPr/>
        <a:lstStyle/>
        <a:p>
          <a:r>
            <a:rPr lang="ru-RU" dirty="0" smtClean="0"/>
            <a:t>«Оптимизация процесса оказания дополнительных услуг по уборке жилых помещений получателей социальных услуг»</a:t>
          </a:r>
          <a:endParaRPr lang="ru-RU" dirty="0"/>
        </a:p>
      </dgm:t>
    </dgm:pt>
    <dgm:pt modelId="{79105A69-FFAC-4524-94C6-E5ED120E8E94}" type="parTrans" cxnId="{D5074294-23BD-44B2-BAE5-911C4BE9F04A}">
      <dgm:prSet/>
      <dgm:spPr/>
      <dgm:t>
        <a:bodyPr/>
        <a:lstStyle/>
        <a:p>
          <a:endParaRPr lang="ru-RU"/>
        </a:p>
      </dgm:t>
    </dgm:pt>
    <dgm:pt modelId="{B7CEA23C-EF44-4043-B6ED-92D5F4A5BA8A}" type="sibTrans" cxnId="{D5074294-23BD-44B2-BAE5-911C4BE9F04A}">
      <dgm:prSet/>
      <dgm:spPr/>
      <dgm:t>
        <a:bodyPr/>
        <a:lstStyle/>
        <a:p>
          <a:endParaRPr lang="ru-RU"/>
        </a:p>
      </dgm:t>
    </dgm:pt>
    <dgm:pt modelId="{F49DEFB6-9D32-4088-9DC9-57028FFEB75F}" type="pres">
      <dgm:prSet presAssocID="{8CDC538B-FADB-4501-855D-633C545FEB6E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23E9624A-3281-4C2A-A3C4-09DFB0500EAB}" type="pres">
      <dgm:prSet presAssocID="{3700FC29-A717-4EA1-814D-B6CBA1DD27ED}" presName="composite" presStyleCnt="0"/>
      <dgm:spPr/>
    </dgm:pt>
    <dgm:pt modelId="{96526CD3-FB58-48DE-9927-CC0AEEAD26F5}" type="pres">
      <dgm:prSet presAssocID="{3700FC29-A717-4EA1-814D-B6CBA1DD27ED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FDA3199-9121-472D-A807-75FEE74175F3}" type="pres">
      <dgm:prSet presAssocID="{3700FC29-A717-4EA1-814D-B6CBA1DD27ED}" presName="descendantText" presStyleLbl="alignAcc1" presStyleIdx="0" presStyleCnt="3" custLinFactNeighborX="-143" custLinFactNeighborY="151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7B9375D-B63E-4559-AE50-2AF5A58E2A9F}" type="pres">
      <dgm:prSet presAssocID="{0BA7AD1B-FEA1-4C71-8840-0C12041071F8}" presName="sp" presStyleCnt="0"/>
      <dgm:spPr/>
    </dgm:pt>
    <dgm:pt modelId="{63E288A2-CAA3-457E-A586-199BF8ADAAA3}" type="pres">
      <dgm:prSet presAssocID="{85B354B1-6BA4-467B-AC69-01E6297B46DA}" presName="composite" presStyleCnt="0"/>
      <dgm:spPr/>
    </dgm:pt>
    <dgm:pt modelId="{C63A01F9-1449-4AFB-A0E8-84AA447E8404}" type="pres">
      <dgm:prSet presAssocID="{85B354B1-6BA4-467B-AC69-01E6297B46DA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E2A885E-F3CD-4FBD-9124-8B58D826B1D7}" type="pres">
      <dgm:prSet presAssocID="{85B354B1-6BA4-467B-AC69-01E6297B46DA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D6BE2B6-62AE-4CB8-A6AD-AD44DACE4E12}" type="pres">
      <dgm:prSet presAssocID="{0D44464A-EAA9-44F9-9C0E-3A4427DCF2A7}" presName="sp" presStyleCnt="0"/>
      <dgm:spPr/>
    </dgm:pt>
    <dgm:pt modelId="{82626E39-9B5C-4B74-B8D2-9BCADEB04342}" type="pres">
      <dgm:prSet presAssocID="{594741A2-E1D6-4D87-8E14-9F999990CFAC}" presName="composite" presStyleCnt="0"/>
      <dgm:spPr/>
    </dgm:pt>
    <dgm:pt modelId="{093CC73B-90EA-4830-821E-4B9C6ECCAB9D}" type="pres">
      <dgm:prSet presAssocID="{594741A2-E1D6-4D87-8E14-9F999990CFAC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0BEAEC1-CF30-4F3F-B438-B1E685BBE8AD}" type="pres">
      <dgm:prSet presAssocID="{594741A2-E1D6-4D87-8E14-9F999990CFAC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BBBDAC5-E9E9-4F37-987A-1338A4DECCFF}" srcId="{3700FC29-A717-4EA1-814D-B6CBA1DD27ED}" destId="{C8496FEF-35B3-4B59-A1E2-E102C9D4C9D2}" srcOrd="0" destOrd="0" parTransId="{C6C6C1EA-F87D-4AE4-B16A-2F1F19A0CF30}" sibTransId="{AD343B06-C93F-4B76-AAB1-3518D298D755}"/>
    <dgm:cxn modelId="{9BCFDCCE-7008-4A9B-B665-2BAF91FB99D8}" srcId="{8CDC538B-FADB-4501-855D-633C545FEB6E}" destId="{594741A2-E1D6-4D87-8E14-9F999990CFAC}" srcOrd="2" destOrd="0" parTransId="{B9706A7B-3227-4EE7-887B-46DDAD7ACBBD}" sibTransId="{D23613E1-9843-4B05-A9B0-C81B499DA5F6}"/>
    <dgm:cxn modelId="{3C2FDC6E-A3D5-4F55-94D4-1E6BA3DC12AD}" type="presOf" srcId="{594741A2-E1D6-4D87-8E14-9F999990CFAC}" destId="{093CC73B-90EA-4830-821E-4B9C6ECCAB9D}" srcOrd="0" destOrd="0" presId="urn:microsoft.com/office/officeart/2005/8/layout/chevron2"/>
    <dgm:cxn modelId="{2D46F5B5-1CCE-4667-A303-F33B99B46033}" type="presOf" srcId="{C13ED5E8-FBC9-4F90-B637-B159B9CE3663}" destId="{DE2A885E-F3CD-4FBD-9124-8B58D826B1D7}" srcOrd="0" destOrd="0" presId="urn:microsoft.com/office/officeart/2005/8/layout/chevron2"/>
    <dgm:cxn modelId="{990C0817-CFE6-451A-AB37-5124A6B27948}" srcId="{8CDC538B-FADB-4501-855D-633C545FEB6E}" destId="{85B354B1-6BA4-467B-AC69-01E6297B46DA}" srcOrd="1" destOrd="0" parTransId="{7DBEAC0F-7D1F-4F29-B9EE-FA5A1657CB17}" sibTransId="{0D44464A-EAA9-44F9-9C0E-3A4427DCF2A7}"/>
    <dgm:cxn modelId="{973FC979-F31F-4C0A-A31A-ED8BF5B61C01}" type="presOf" srcId="{3700FC29-A717-4EA1-814D-B6CBA1DD27ED}" destId="{96526CD3-FB58-48DE-9927-CC0AEEAD26F5}" srcOrd="0" destOrd="0" presId="urn:microsoft.com/office/officeart/2005/8/layout/chevron2"/>
    <dgm:cxn modelId="{9F24CCF8-5887-4E95-B2CD-ACEA29B2D466}" type="presOf" srcId="{B38C4C9F-5934-498D-BF84-FF295356EB56}" destId="{C0BEAEC1-CF30-4F3F-B438-B1E685BBE8AD}" srcOrd="0" destOrd="0" presId="urn:microsoft.com/office/officeart/2005/8/layout/chevron2"/>
    <dgm:cxn modelId="{F3F73E0F-2190-47A0-818F-9B4C5E65EEA7}" srcId="{8CDC538B-FADB-4501-855D-633C545FEB6E}" destId="{3700FC29-A717-4EA1-814D-B6CBA1DD27ED}" srcOrd="0" destOrd="0" parTransId="{F2A376A9-FE1F-4AEA-AE57-2A8F965A11E5}" sibTransId="{0BA7AD1B-FEA1-4C71-8840-0C12041071F8}"/>
    <dgm:cxn modelId="{7177B202-1B5F-4752-BA71-25F8C239F85F}" type="presOf" srcId="{85B354B1-6BA4-467B-AC69-01E6297B46DA}" destId="{C63A01F9-1449-4AFB-A0E8-84AA447E8404}" srcOrd="0" destOrd="0" presId="urn:microsoft.com/office/officeart/2005/8/layout/chevron2"/>
    <dgm:cxn modelId="{B64449FE-423E-4324-869D-3ED9E13CC995}" type="presOf" srcId="{C8496FEF-35B3-4B59-A1E2-E102C9D4C9D2}" destId="{BFDA3199-9121-472D-A807-75FEE74175F3}" srcOrd="0" destOrd="0" presId="urn:microsoft.com/office/officeart/2005/8/layout/chevron2"/>
    <dgm:cxn modelId="{D5074294-23BD-44B2-BAE5-911C4BE9F04A}" srcId="{594741A2-E1D6-4D87-8E14-9F999990CFAC}" destId="{B38C4C9F-5934-498D-BF84-FF295356EB56}" srcOrd="0" destOrd="0" parTransId="{79105A69-FFAC-4524-94C6-E5ED120E8E94}" sibTransId="{B7CEA23C-EF44-4043-B6ED-92D5F4A5BA8A}"/>
    <dgm:cxn modelId="{9B6D554B-CC81-4DEE-9953-E0D2DA6310D6}" srcId="{85B354B1-6BA4-467B-AC69-01E6297B46DA}" destId="{C13ED5E8-FBC9-4F90-B637-B159B9CE3663}" srcOrd="0" destOrd="0" parTransId="{389461A9-66D1-4834-A5E3-D86B7C44D7CB}" sibTransId="{5EA9A29B-D99E-48C8-9888-692C15283154}"/>
    <dgm:cxn modelId="{AB4F81D1-AF37-4266-BAD3-0D941D9E63B7}" type="presOf" srcId="{8CDC538B-FADB-4501-855D-633C545FEB6E}" destId="{F49DEFB6-9D32-4088-9DC9-57028FFEB75F}" srcOrd="0" destOrd="0" presId="urn:microsoft.com/office/officeart/2005/8/layout/chevron2"/>
    <dgm:cxn modelId="{6CBA7706-CCF4-4C4F-9948-EAD0968206DE}" type="presParOf" srcId="{F49DEFB6-9D32-4088-9DC9-57028FFEB75F}" destId="{23E9624A-3281-4C2A-A3C4-09DFB0500EAB}" srcOrd="0" destOrd="0" presId="urn:microsoft.com/office/officeart/2005/8/layout/chevron2"/>
    <dgm:cxn modelId="{740053E1-6629-428F-8C7F-C977D1D37E2A}" type="presParOf" srcId="{23E9624A-3281-4C2A-A3C4-09DFB0500EAB}" destId="{96526CD3-FB58-48DE-9927-CC0AEEAD26F5}" srcOrd="0" destOrd="0" presId="urn:microsoft.com/office/officeart/2005/8/layout/chevron2"/>
    <dgm:cxn modelId="{FE0346BC-765E-4AAB-AA96-1F5D53A03EBF}" type="presParOf" srcId="{23E9624A-3281-4C2A-A3C4-09DFB0500EAB}" destId="{BFDA3199-9121-472D-A807-75FEE74175F3}" srcOrd="1" destOrd="0" presId="urn:microsoft.com/office/officeart/2005/8/layout/chevron2"/>
    <dgm:cxn modelId="{4BD57B7F-C1B8-49E9-81CE-2FE2F303830A}" type="presParOf" srcId="{F49DEFB6-9D32-4088-9DC9-57028FFEB75F}" destId="{E7B9375D-B63E-4559-AE50-2AF5A58E2A9F}" srcOrd="1" destOrd="0" presId="urn:microsoft.com/office/officeart/2005/8/layout/chevron2"/>
    <dgm:cxn modelId="{750C7CF1-27F2-49B2-B000-B760748024EE}" type="presParOf" srcId="{F49DEFB6-9D32-4088-9DC9-57028FFEB75F}" destId="{63E288A2-CAA3-457E-A586-199BF8ADAAA3}" srcOrd="2" destOrd="0" presId="urn:microsoft.com/office/officeart/2005/8/layout/chevron2"/>
    <dgm:cxn modelId="{4A8E20A2-67B4-4D0D-AEB8-FDDCDA8D1880}" type="presParOf" srcId="{63E288A2-CAA3-457E-A586-199BF8ADAAA3}" destId="{C63A01F9-1449-4AFB-A0E8-84AA447E8404}" srcOrd="0" destOrd="0" presId="urn:microsoft.com/office/officeart/2005/8/layout/chevron2"/>
    <dgm:cxn modelId="{6AD34F4B-FBB9-4201-B14D-77C09C5872B5}" type="presParOf" srcId="{63E288A2-CAA3-457E-A586-199BF8ADAAA3}" destId="{DE2A885E-F3CD-4FBD-9124-8B58D826B1D7}" srcOrd="1" destOrd="0" presId="urn:microsoft.com/office/officeart/2005/8/layout/chevron2"/>
    <dgm:cxn modelId="{E812CD00-C498-40AC-8041-090630FABCC1}" type="presParOf" srcId="{F49DEFB6-9D32-4088-9DC9-57028FFEB75F}" destId="{CD6BE2B6-62AE-4CB8-A6AD-AD44DACE4E12}" srcOrd="3" destOrd="0" presId="urn:microsoft.com/office/officeart/2005/8/layout/chevron2"/>
    <dgm:cxn modelId="{D0ED6A6A-0398-44C5-A0FF-893C675AA053}" type="presParOf" srcId="{F49DEFB6-9D32-4088-9DC9-57028FFEB75F}" destId="{82626E39-9B5C-4B74-B8D2-9BCADEB04342}" srcOrd="4" destOrd="0" presId="urn:microsoft.com/office/officeart/2005/8/layout/chevron2"/>
    <dgm:cxn modelId="{650622B7-3AB4-430D-A4E2-0CDF7A540A58}" type="presParOf" srcId="{82626E39-9B5C-4B74-B8D2-9BCADEB04342}" destId="{093CC73B-90EA-4830-821E-4B9C6ECCAB9D}" srcOrd="0" destOrd="0" presId="urn:microsoft.com/office/officeart/2005/8/layout/chevron2"/>
    <dgm:cxn modelId="{3A2B0047-F8CC-4A19-9393-E983E1712D82}" type="presParOf" srcId="{82626E39-9B5C-4B74-B8D2-9BCADEB04342}" destId="{C0BEAEC1-CF30-4F3F-B438-B1E685BBE8AD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xmlns="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4E317AB4-3F97-4225-99B0-72EAA4EF532D}" type="doc">
      <dgm:prSet loTypeId="urn:microsoft.com/office/officeart/2005/8/layout/lProcess1" loCatId="process" qsTypeId="urn:microsoft.com/office/officeart/2005/8/quickstyle/simple5" qsCatId="simple" csTypeId="urn:microsoft.com/office/officeart/2005/8/colors/colorful3" csCatId="colorful" phldr="1"/>
      <dgm:spPr/>
      <dgm:t>
        <a:bodyPr/>
        <a:lstStyle/>
        <a:p>
          <a:endParaRPr lang="ru-RU"/>
        </a:p>
      </dgm:t>
    </dgm:pt>
    <dgm:pt modelId="{9B7CBBD7-63D5-4EEA-96CF-CC5C7010753B}">
      <dgm:prSet phldrT="[Текст]"/>
      <dgm:spPr/>
      <dgm:t>
        <a:bodyPr/>
        <a:lstStyle/>
        <a:p>
          <a:r>
            <a:rPr lang="ru-RU" dirty="0" smtClean="0"/>
            <a:t>1</a:t>
          </a:r>
          <a:endParaRPr lang="ru-RU" dirty="0"/>
        </a:p>
      </dgm:t>
    </dgm:pt>
    <dgm:pt modelId="{C06DD26C-A82F-421F-93A7-95BE5CE05162}" type="parTrans" cxnId="{0B161BBC-C5BA-496B-9FBA-CB1178AE746D}">
      <dgm:prSet/>
      <dgm:spPr/>
      <dgm:t>
        <a:bodyPr/>
        <a:lstStyle/>
        <a:p>
          <a:endParaRPr lang="ru-RU"/>
        </a:p>
      </dgm:t>
    </dgm:pt>
    <dgm:pt modelId="{F688564A-F3D4-4083-B4E3-93701883CF24}" type="sibTrans" cxnId="{0B161BBC-C5BA-496B-9FBA-CB1178AE746D}">
      <dgm:prSet/>
      <dgm:spPr/>
      <dgm:t>
        <a:bodyPr/>
        <a:lstStyle/>
        <a:p>
          <a:endParaRPr lang="ru-RU"/>
        </a:p>
      </dgm:t>
    </dgm:pt>
    <dgm:pt modelId="{DA68C265-FF9D-4DF0-96DA-346715F91341}">
      <dgm:prSet phldrT="[Текст]" custT="1"/>
      <dgm:spPr/>
      <dgm:t>
        <a:bodyPr/>
        <a:lstStyle/>
        <a:p>
          <a:r>
            <a:rPr lang="ru-RU" sz="1000" dirty="0" smtClean="0"/>
            <a:t>Слушайте заказчика!</a:t>
          </a:r>
          <a:endParaRPr lang="ru-RU" sz="1000" dirty="0"/>
        </a:p>
      </dgm:t>
    </dgm:pt>
    <dgm:pt modelId="{EA2FA2EF-D230-42AC-A838-F7921F29CE96}" type="parTrans" cxnId="{D3EE7BA9-FE3C-44EB-9B9E-47C9C40CB5DB}">
      <dgm:prSet/>
      <dgm:spPr/>
      <dgm:t>
        <a:bodyPr/>
        <a:lstStyle/>
        <a:p>
          <a:endParaRPr lang="ru-RU"/>
        </a:p>
      </dgm:t>
    </dgm:pt>
    <dgm:pt modelId="{C76E640D-45E2-47B0-8333-6F764824EF77}" type="sibTrans" cxnId="{D3EE7BA9-FE3C-44EB-9B9E-47C9C40CB5DB}">
      <dgm:prSet/>
      <dgm:spPr/>
      <dgm:t>
        <a:bodyPr/>
        <a:lstStyle/>
        <a:p>
          <a:endParaRPr lang="ru-RU"/>
        </a:p>
      </dgm:t>
    </dgm:pt>
    <dgm:pt modelId="{C46E791F-7A4F-4B8D-8977-EC6422BBB5C5}">
      <dgm:prSet phldrT="[Текст]" custT="1"/>
      <dgm:spPr/>
      <dgm:t>
        <a:bodyPr/>
        <a:lstStyle/>
        <a:p>
          <a:r>
            <a:rPr lang="ru-RU" sz="1000" dirty="0" smtClean="0"/>
            <a:t>Предвосхищайте его потребности!</a:t>
          </a:r>
          <a:endParaRPr lang="ru-RU" sz="1000" dirty="0"/>
        </a:p>
      </dgm:t>
    </dgm:pt>
    <dgm:pt modelId="{8D644794-9DA8-4465-A50B-88416B60EAED}" type="parTrans" cxnId="{9DE160E6-4EAE-40D9-8CD9-ED2F3DFFB54A}">
      <dgm:prSet/>
      <dgm:spPr/>
      <dgm:t>
        <a:bodyPr/>
        <a:lstStyle/>
        <a:p>
          <a:endParaRPr lang="ru-RU"/>
        </a:p>
      </dgm:t>
    </dgm:pt>
    <dgm:pt modelId="{55349A0C-1717-4674-9878-1DDC46C57F62}" type="sibTrans" cxnId="{9DE160E6-4EAE-40D9-8CD9-ED2F3DFFB54A}">
      <dgm:prSet/>
      <dgm:spPr/>
      <dgm:t>
        <a:bodyPr/>
        <a:lstStyle/>
        <a:p>
          <a:endParaRPr lang="ru-RU"/>
        </a:p>
      </dgm:t>
    </dgm:pt>
    <dgm:pt modelId="{4D1F6944-83A6-4869-8486-EDC2D67A3D9F}">
      <dgm:prSet phldrT="[Текст]"/>
      <dgm:spPr/>
      <dgm:t>
        <a:bodyPr/>
        <a:lstStyle/>
        <a:p>
          <a:r>
            <a:rPr lang="ru-RU" dirty="0" smtClean="0"/>
            <a:t>2</a:t>
          </a:r>
          <a:endParaRPr lang="ru-RU" dirty="0"/>
        </a:p>
      </dgm:t>
    </dgm:pt>
    <dgm:pt modelId="{F21D3E94-B9AF-4CDF-81CA-AA975FDB7987}" type="parTrans" cxnId="{1CE058F4-11B2-4EBC-9D00-3B9CE75F0489}">
      <dgm:prSet/>
      <dgm:spPr/>
      <dgm:t>
        <a:bodyPr/>
        <a:lstStyle/>
        <a:p>
          <a:endParaRPr lang="ru-RU"/>
        </a:p>
      </dgm:t>
    </dgm:pt>
    <dgm:pt modelId="{18A5C569-72A0-4B5E-A279-EB160AAC4D75}" type="sibTrans" cxnId="{1CE058F4-11B2-4EBC-9D00-3B9CE75F0489}">
      <dgm:prSet/>
      <dgm:spPr/>
      <dgm:t>
        <a:bodyPr/>
        <a:lstStyle/>
        <a:p>
          <a:endParaRPr lang="ru-RU"/>
        </a:p>
      </dgm:t>
    </dgm:pt>
    <dgm:pt modelId="{CD2A306E-A3FB-4813-90C3-76FC83267BF4}">
      <dgm:prSet phldrT="[Текст]" custT="1"/>
      <dgm:spPr/>
      <dgm:t>
        <a:bodyPr/>
        <a:lstStyle/>
        <a:p>
          <a:r>
            <a:rPr lang="ru-RU" sz="1000" dirty="0" smtClean="0"/>
            <a:t>Предлагайте услуги наивысшего качества!</a:t>
          </a:r>
          <a:endParaRPr lang="ru-RU" sz="1000" dirty="0"/>
        </a:p>
      </dgm:t>
    </dgm:pt>
    <dgm:pt modelId="{BCD92B3D-2FD5-4920-9AA2-1C2847D6A607}" type="parTrans" cxnId="{75A64F73-41E8-48FE-80CA-46AFE13FC481}">
      <dgm:prSet/>
      <dgm:spPr/>
      <dgm:t>
        <a:bodyPr/>
        <a:lstStyle/>
        <a:p>
          <a:endParaRPr lang="ru-RU"/>
        </a:p>
      </dgm:t>
    </dgm:pt>
    <dgm:pt modelId="{D38793ED-6FF9-4D4D-8771-8993F4B6E161}" type="sibTrans" cxnId="{75A64F73-41E8-48FE-80CA-46AFE13FC481}">
      <dgm:prSet/>
      <dgm:spPr/>
      <dgm:t>
        <a:bodyPr/>
        <a:lstStyle/>
        <a:p>
          <a:endParaRPr lang="ru-RU"/>
        </a:p>
      </dgm:t>
    </dgm:pt>
    <dgm:pt modelId="{23F3AE2D-0D5C-41B4-98C0-B51B57ABE658}">
      <dgm:prSet phldrT="[Текст]" custT="1"/>
      <dgm:spPr/>
      <dgm:t>
        <a:bodyPr/>
        <a:lstStyle/>
        <a:p>
          <a:r>
            <a:rPr lang="ru-RU" sz="800" dirty="0" smtClean="0"/>
            <a:t>Выполняйте услуги в сроки, установленные заказчиком.</a:t>
          </a:r>
          <a:endParaRPr lang="ru-RU" sz="800" dirty="0"/>
        </a:p>
      </dgm:t>
    </dgm:pt>
    <dgm:pt modelId="{25174A9B-5DEA-4C4B-B758-982709A213BF}" type="parTrans" cxnId="{EEE9EDC7-8F20-4BAF-8F70-4EA0DCA504E1}">
      <dgm:prSet/>
      <dgm:spPr/>
      <dgm:t>
        <a:bodyPr/>
        <a:lstStyle/>
        <a:p>
          <a:endParaRPr lang="ru-RU"/>
        </a:p>
      </dgm:t>
    </dgm:pt>
    <dgm:pt modelId="{CB85F125-2760-4B71-9908-A982CF67E32D}" type="sibTrans" cxnId="{EEE9EDC7-8F20-4BAF-8F70-4EA0DCA504E1}">
      <dgm:prSet/>
      <dgm:spPr/>
      <dgm:t>
        <a:bodyPr/>
        <a:lstStyle/>
        <a:p>
          <a:endParaRPr lang="ru-RU"/>
        </a:p>
      </dgm:t>
    </dgm:pt>
    <dgm:pt modelId="{D298C3CA-2D0A-4C57-A7B8-3A604A7EC982}">
      <dgm:prSet phldrT="[Текст]"/>
      <dgm:spPr/>
      <dgm:t>
        <a:bodyPr/>
        <a:lstStyle/>
        <a:p>
          <a:r>
            <a:rPr lang="ru-RU" dirty="0" smtClean="0"/>
            <a:t>3</a:t>
          </a:r>
          <a:endParaRPr lang="ru-RU" dirty="0"/>
        </a:p>
      </dgm:t>
    </dgm:pt>
    <dgm:pt modelId="{6562801A-AFD8-4855-ACAF-888B0A21BD10}" type="parTrans" cxnId="{41CF8CF4-A6C7-447E-AD97-213AE2B8095D}">
      <dgm:prSet/>
      <dgm:spPr/>
      <dgm:t>
        <a:bodyPr/>
        <a:lstStyle/>
        <a:p>
          <a:endParaRPr lang="ru-RU"/>
        </a:p>
      </dgm:t>
    </dgm:pt>
    <dgm:pt modelId="{84014EC0-C09A-40E8-A987-AD6E637022FE}" type="sibTrans" cxnId="{41CF8CF4-A6C7-447E-AD97-213AE2B8095D}">
      <dgm:prSet/>
      <dgm:spPr/>
      <dgm:t>
        <a:bodyPr/>
        <a:lstStyle/>
        <a:p>
          <a:endParaRPr lang="ru-RU"/>
        </a:p>
      </dgm:t>
    </dgm:pt>
    <dgm:pt modelId="{14A78937-3819-4198-837D-0E16D07CF21D}">
      <dgm:prSet phldrT="[Текст]" custT="1"/>
      <dgm:spPr/>
      <dgm:t>
        <a:bodyPr/>
        <a:lstStyle/>
        <a:p>
          <a:r>
            <a:rPr lang="ru-RU" sz="1000" dirty="0" smtClean="0"/>
            <a:t>Будьте вежливыми и доброжелательными!</a:t>
          </a:r>
          <a:endParaRPr lang="ru-RU" sz="1000" dirty="0"/>
        </a:p>
      </dgm:t>
    </dgm:pt>
    <dgm:pt modelId="{5F06DD1B-158A-4E80-82AA-E39F6886DF70}" type="parTrans" cxnId="{E0983234-D8FD-4855-A0BB-E08B5E1A726B}">
      <dgm:prSet/>
      <dgm:spPr/>
      <dgm:t>
        <a:bodyPr/>
        <a:lstStyle/>
        <a:p>
          <a:endParaRPr lang="ru-RU"/>
        </a:p>
      </dgm:t>
    </dgm:pt>
    <dgm:pt modelId="{4E150387-93EA-42BF-AC85-9B6DBE708B01}" type="sibTrans" cxnId="{E0983234-D8FD-4855-A0BB-E08B5E1A726B}">
      <dgm:prSet/>
      <dgm:spPr/>
      <dgm:t>
        <a:bodyPr/>
        <a:lstStyle/>
        <a:p>
          <a:endParaRPr lang="ru-RU"/>
        </a:p>
      </dgm:t>
    </dgm:pt>
    <dgm:pt modelId="{8F4AFC21-0FE5-4F7E-B060-D2B68A97BDFE}">
      <dgm:prSet phldrT="[Текст]" custT="1"/>
      <dgm:spPr/>
      <dgm:t>
        <a:bodyPr/>
        <a:lstStyle/>
        <a:p>
          <a:r>
            <a:rPr lang="ru-RU" sz="800" dirty="0" smtClean="0"/>
            <a:t>Мгновенно реагируйте на изменений требований заказчика!</a:t>
          </a:r>
          <a:endParaRPr lang="ru-RU" sz="800" dirty="0"/>
        </a:p>
      </dgm:t>
    </dgm:pt>
    <dgm:pt modelId="{D157E058-E466-4846-ADAB-F54C6EC40A0B}" type="parTrans" cxnId="{5AEFCECB-FA0B-469E-8CAE-35092EFCB0C6}">
      <dgm:prSet/>
      <dgm:spPr/>
      <dgm:t>
        <a:bodyPr/>
        <a:lstStyle/>
        <a:p>
          <a:endParaRPr lang="ru-RU"/>
        </a:p>
      </dgm:t>
    </dgm:pt>
    <dgm:pt modelId="{C55904F5-3E27-42E4-9E98-D821D2B893D8}" type="sibTrans" cxnId="{5AEFCECB-FA0B-469E-8CAE-35092EFCB0C6}">
      <dgm:prSet/>
      <dgm:spPr/>
      <dgm:t>
        <a:bodyPr/>
        <a:lstStyle/>
        <a:p>
          <a:endParaRPr lang="ru-RU"/>
        </a:p>
      </dgm:t>
    </dgm:pt>
    <dgm:pt modelId="{A7A4AF56-05EE-4ADC-8993-23E2A7F09AF9}" type="pres">
      <dgm:prSet presAssocID="{4E317AB4-3F97-4225-99B0-72EAA4EF532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39A0574D-33A4-46FD-8040-E961446BE96D}" type="pres">
      <dgm:prSet presAssocID="{9B7CBBD7-63D5-4EEA-96CF-CC5C7010753B}" presName="vertFlow" presStyleCnt="0"/>
      <dgm:spPr/>
    </dgm:pt>
    <dgm:pt modelId="{A6906AFD-3EF1-4508-9039-325CBA130975}" type="pres">
      <dgm:prSet presAssocID="{9B7CBBD7-63D5-4EEA-96CF-CC5C7010753B}" presName="header" presStyleLbl="node1" presStyleIdx="0" presStyleCnt="3"/>
      <dgm:spPr/>
      <dgm:t>
        <a:bodyPr/>
        <a:lstStyle/>
        <a:p>
          <a:endParaRPr lang="ru-RU"/>
        </a:p>
      </dgm:t>
    </dgm:pt>
    <dgm:pt modelId="{F2D840EA-F78C-4F66-A42A-FD7DFDBC8D64}" type="pres">
      <dgm:prSet presAssocID="{EA2FA2EF-D230-42AC-A838-F7921F29CE96}" presName="parTrans" presStyleLbl="sibTrans2D1" presStyleIdx="0" presStyleCnt="6"/>
      <dgm:spPr/>
      <dgm:t>
        <a:bodyPr/>
        <a:lstStyle/>
        <a:p>
          <a:endParaRPr lang="ru-RU"/>
        </a:p>
      </dgm:t>
    </dgm:pt>
    <dgm:pt modelId="{2E229FC9-984E-4B59-BB45-C16E19BFC0F7}" type="pres">
      <dgm:prSet presAssocID="{DA68C265-FF9D-4DF0-96DA-346715F91341}" presName="child" presStyleLbl="alignAccFollowNode1" presStyleIdx="0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A8A3130-D5E1-4287-B563-3819BDFA29AC}" type="pres">
      <dgm:prSet presAssocID="{C76E640D-45E2-47B0-8333-6F764824EF77}" presName="sibTrans" presStyleLbl="sibTrans2D1" presStyleIdx="1" presStyleCnt="6"/>
      <dgm:spPr/>
      <dgm:t>
        <a:bodyPr/>
        <a:lstStyle/>
        <a:p>
          <a:endParaRPr lang="ru-RU"/>
        </a:p>
      </dgm:t>
    </dgm:pt>
    <dgm:pt modelId="{1656F818-EFD1-45BC-9F86-BED82070D240}" type="pres">
      <dgm:prSet presAssocID="{C46E791F-7A4F-4B8D-8977-EC6422BBB5C5}" presName="child" presStyleLbl="alignAccFollowNode1" presStyleIdx="1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0C808A9-0976-42B3-8D66-5998B76821C8}" type="pres">
      <dgm:prSet presAssocID="{9B7CBBD7-63D5-4EEA-96CF-CC5C7010753B}" presName="hSp" presStyleCnt="0"/>
      <dgm:spPr/>
    </dgm:pt>
    <dgm:pt modelId="{18D76675-CC7C-41BE-A05E-32C116D6E988}" type="pres">
      <dgm:prSet presAssocID="{4D1F6944-83A6-4869-8486-EDC2D67A3D9F}" presName="vertFlow" presStyleCnt="0"/>
      <dgm:spPr/>
    </dgm:pt>
    <dgm:pt modelId="{F1876663-9AE4-414E-A63C-8702A1C57795}" type="pres">
      <dgm:prSet presAssocID="{4D1F6944-83A6-4869-8486-EDC2D67A3D9F}" presName="header" presStyleLbl="node1" presStyleIdx="1" presStyleCnt="3"/>
      <dgm:spPr/>
      <dgm:t>
        <a:bodyPr/>
        <a:lstStyle/>
        <a:p>
          <a:endParaRPr lang="ru-RU"/>
        </a:p>
      </dgm:t>
    </dgm:pt>
    <dgm:pt modelId="{1FA2EFA7-652A-4ED1-A65C-50AB5D1C1864}" type="pres">
      <dgm:prSet presAssocID="{BCD92B3D-2FD5-4920-9AA2-1C2847D6A607}" presName="parTrans" presStyleLbl="sibTrans2D1" presStyleIdx="2" presStyleCnt="6"/>
      <dgm:spPr/>
      <dgm:t>
        <a:bodyPr/>
        <a:lstStyle/>
        <a:p>
          <a:endParaRPr lang="ru-RU"/>
        </a:p>
      </dgm:t>
    </dgm:pt>
    <dgm:pt modelId="{E9E4B227-BACA-4DE6-B667-479CDC09CB62}" type="pres">
      <dgm:prSet presAssocID="{CD2A306E-A3FB-4813-90C3-76FC83267BF4}" presName="child" presStyleLbl="alignAccFollowNode1" presStyleIdx="2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43AEF8F-B368-4BE8-986D-DAD3934DA04D}" type="pres">
      <dgm:prSet presAssocID="{D38793ED-6FF9-4D4D-8771-8993F4B6E161}" presName="sibTrans" presStyleLbl="sibTrans2D1" presStyleIdx="3" presStyleCnt="6"/>
      <dgm:spPr/>
      <dgm:t>
        <a:bodyPr/>
        <a:lstStyle/>
        <a:p>
          <a:endParaRPr lang="ru-RU"/>
        </a:p>
      </dgm:t>
    </dgm:pt>
    <dgm:pt modelId="{94B897C0-5FFF-4F06-AAA6-EFC13719980E}" type="pres">
      <dgm:prSet presAssocID="{23F3AE2D-0D5C-41B4-98C0-B51B57ABE658}" presName="child" presStyleLbl="alignAccFollowNode1" presStyleIdx="3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442652B-4A70-4013-B489-E19FA762E5E2}" type="pres">
      <dgm:prSet presAssocID="{4D1F6944-83A6-4869-8486-EDC2D67A3D9F}" presName="hSp" presStyleCnt="0"/>
      <dgm:spPr/>
    </dgm:pt>
    <dgm:pt modelId="{58CD39A3-14FF-4A03-B922-54B6848CA834}" type="pres">
      <dgm:prSet presAssocID="{D298C3CA-2D0A-4C57-A7B8-3A604A7EC982}" presName="vertFlow" presStyleCnt="0"/>
      <dgm:spPr/>
    </dgm:pt>
    <dgm:pt modelId="{073691D8-2B83-4CAA-A75F-3F21B6AFB8FE}" type="pres">
      <dgm:prSet presAssocID="{D298C3CA-2D0A-4C57-A7B8-3A604A7EC982}" presName="header" presStyleLbl="node1" presStyleIdx="2" presStyleCnt="3"/>
      <dgm:spPr/>
      <dgm:t>
        <a:bodyPr/>
        <a:lstStyle/>
        <a:p>
          <a:endParaRPr lang="ru-RU"/>
        </a:p>
      </dgm:t>
    </dgm:pt>
    <dgm:pt modelId="{564D64DA-E17B-4C03-ABDE-69B095020F05}" type="pres">
      <dgm:prSet presAssocID="{5F06DD1B-158A-4E80-82AA-E39F6886DF70}" presName="parTrans" presStyleLbl="sibTrans2D1" presStyleIdx="4" presStyleCnt="6"/>
      <dgm:spPr/>
      <dgm:t>
        <a:bodyPr/>
        <a:lstStyle/>
        <a:p>
          <a:endParaRPr lang="ru-RU"/>
        </a:p>
      </dgm:t>
    </dgm:pt>
    <dgm:pt modelId="{706D6EB0-C37C-4411-BDE3-F1709B7B21FB}" type="pres">
      <dgm:prSet presAssocID="{14A78937-3819-4198-837D-0E16D07CF21D}" presName="child" presStyleLbl="alignAccFollowNode1" presStyleIdx="4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808DB58-4D8D-48AD-BBA2-8BB613D46927}" type="pres">
      <dgm:prSet presAssocID="{4E150387-93EA-42BF-AC85-9B6DBE708B01}" presName="sibTrans" presStyleLbl="sibTrans2D1" presStyleIdx="5" presStyleCnt="6"/>
      <dgm:spPr/>
      <dgm:t>
        <a:bodyPr/>
        <a:lstStyle/>
        <a:p>
          <a:endParaRPr lang="ru-RU"/>
        </a:p>
      </dgm:t>
    </dgm:pt>
    <dgm:pt modelId="{0183B842-E376-4678-9E59-772700280FE4}" type="pres">
      <dgm:prSet presAssocID="{8F4AFC21-0FE5-4F7E-B060-D2B68A97BDFE}" presName="child" presStyleLbl="alignAccFollowNode1" presStyleIdx="5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DE160E6-4EAE-40D9-8CD9-ED2F3DFFB54A}" srcId="{9B7CBBD7-63D5-4EEA-96CF-CC5C7010753B}" destId="{C46E791F-7A4F-4B8D-8977-EC6422BBB5C5}" srcOrd="1" destOrd="0" parTransId="{8D644794-9DA8-4465-A50B-88416B60EAED}" sibTransId="{55349A0C-1717-4674-9878-1DDC46C57F62}"/>
    <dgm:cxn modelId="{5AEFCECB-FA0B-469E-8CAE-35092EFCB0C6}" srcId="{D298C3CA-2D0A-4C57-A7B8-3A604A7EC982}" destId="{8F4AFC21-0FE5-4F7E-B060-D2B68A97BDFE}" srcOrd="1" destOrd="0" parTransId="{D157E058-E466-4846-ADAB-F54C6EC40A0B}" sibTransId="{C55904F5-3E27-42E4-9E98-D821D2B893D8}"/>
    <dgm:cxn modelId="{0B161BBC-C5BA-496B-9FBA-CB1178AE746D}" srcId="{4E317AB4-3F97-4225-99B0-72EAA4EF532D}" destId="{9B7CBBD7-63D5-4EEA-96CF-CC5C7010753B}" srcOrd="0" destOrd="0" parTransId="{C06DD26C-A82F-421F-93A7-95BE5CE05162}" sibTransId="{F688564A-F3D4-4083-B4E3-93701883CF24}"/>
    <dgm:cxn modelId="{0B0598B6-2C83-401F-B19C-180AFD43269B}" type="presOf" srcId="{4D1F6944-83A6-4869-8486-EDC2D67A3D9F}" destId="{F1876663-9AE4-414E-A63C-8702A1C57795}" srcOrd="0" destOrd="0" presId="urn:microsoft.com/office/officeart/2005/8/layout/lProcess1"/>
    <dgm:cxn modelId="{A236113F-99C2-438E-AE0F-049DCFA9416D}" type="presOf" srcId="{23F3AE2D-0D5C-41B4-98C0-B51B57ABE658}" destId="{94B897C0-5FFF-4F06-AAA6-EFC13719980E}" srcOrd="0" destOrd="0" presId="urn:microsoft.com/office/officeart/2005/8/layout/lProcess1"/>
    <dgm:cxn modelId="{96874645-55C6-4CEC-A990-190424CA46A9}" type="presOf" srcId="{C76E640D-45E2-47B0-8333-6F764824EF77}" destId="{6A8A3130-D5E1-4287-B563-3819BDFA29AC}" srcOrd="0" destOrd="0" presId="urn:microsoft.com/office/officeart/2005/8/layout/lProcess1"/>
    <dgm:cxn modelId="{4B81C4D7-7605-4A2C-AE03-DF2D74AD00B8}" type="presOf" srcId="{4E317AB4-3F97-4225-99B0-72EAA4EF532D}" destId="{A7A4AF56-05EE-4ADC-8993-23E2A7F09AF9}" srcOrd="0" destOrd="0" presId="urn:microsoft.com/office/officeart/2005/8/layout/lProcess1"/>
    <dgm:cxn modelId="{E0983234-D8FD-4855-A0BB-E08B5E1A726B}" srcId="{D298C3CA-2D0A-4C57-A7B8-3A604A7EC982}" destId="{14A78937-3819-4198-837D-0E16D07CF21D}" srcOrd="0" destOrd="0" parTransId="{5F06DD1B-158A-4E80-82AA-E39F6886DF70}" sibTransId="{4E150387-93EA-42BF-AC85-9B6DBE708B01}"/>
    <dgm:cxn modelId="{6E6E9D3A-FB1F-41D0-8085-8DBA10FFAE50}" type="presOf" srcId="{4E150387-93EA-42BF-AC85-9B6DBE708B01}" destId="{8808DB58-4D8D-48AD-BBA2-8BB613D46927}" srcOrd="0" destOrd="0" presId="urn:microsoft.com/office/officeart/2005/8/layout/lProcess1"/>
    <dgm:cxn modelId="{1CE058F4-11B2-4EBC-9D00-3B9CE75F0489}" srcId="{4E317AB4-3F97-4225-99B0-72EAA4EF532D}" destId="{4D1F6944-83A6-4869-8486-EDC2D67A3D9F}" srcOrd="1" destOrd="0" parTransId="{F21D3E94-B9AF-4CDF-81CA-AA975FDB7987}" sibTransId="{18A5C569-72A0-4B5E-A279-EB160AAC4D75}"/>
    <dgm:cxn modelId="{5675FA4A-9418-4957-92BD-1F8C1C675971}" type="presOf" srcId="{C46E791F-7A4F-4B8D-8977-EC6422BBB5C5}" destId="{1656F818-EFD1-45BC-9F86-BED82070D240}" srcOrd="0" destOrd="0" presId="urn:microsoft.com/office/officeart/2005/8/layout/lProcess1"/>
    <dgm:cxn modelId="{D3EE7BA9-FE3C-44EB-9B9E-47C9C40CB5DB}" srcId="{9B7CBBD7-63D5-4EEA-96CF-CC5C7010753B}" destId="{DA68C265-FF9D-4DF0-96DA-346715F91341}" srcOrd="0" destOrd="0" parTransId="{EA2FA2EF-D230-42AC-A838-F7921F29CE96}" sibTransId="{C76E640D-45E2-47B0-8333-6F764824EF77}"/>
    <dgm:cxn modelId="{6F382724-700B-4046-B1C9-72DF2E12E6E3}" type="presOf" srcId="{9B7CBBD7-63D5-4EEA-96CF-CC5C7010753B}" destId="{A6906AFD-3EF1-4508-9039-325CBA130975}" srcOrd="0" destOrd="0" presId="urn:microsoft.com/office/officeart/2005/8/layout/lProcess1"/>
    <dgm:cxn modelId="{270982F5-7DE5-431F-A681-28DF4AE59133}" type="presOf" srcId="{D298C3CA-2D0A-4C57-A7B8-3A604A7EC982}" destId="{073691D8-2B83-4CAA-A75F-3F21B6AFB8FE}" srcOrd="0" destOrd="0" presId="urn:microsoft.com/office/officeart/2005/8/layout/lProcess1"/>
    <dgm:cxn modelId="{6E5EC119-4D2C-4094-B8F8-2E4C37AB4E69}" type="presOf" srcId="{5F06DD1B-158A-4E80-82AA-E39F6886DF70}" destId="{564D64DA-E17B-4C03-ABDE-69B095020F05}" srcOrd="0" destOrd="0" presId="urn:microsoft.com/office/officeart/2005/8/layout/lProcess1"/>
    <dgm:cxn modelId="{D98EA7C6-56D7-4732-9CE5-B0DF4CE62B46}" type="presOf" srcId="{EA2FA2EF-D230-42AC-A838-F7921F29CE96}" destId="{F2D840EA-F78C-4F66-A42A-FD7DFDBC8D64}" srcOrd="0" destOrd="0" presId="urn:microsoft.com/office/officeart/2005/8/layout/lProcess1"/>
    <dgm:cxn modelId="{41CF8CF4-A6C7-447E-AD97-213AE2B8095D}" srcId="{4E317AB4-3F97-4225-99B0-72EAA4EF532D}" destId="{D298C3CA-2D0A-4C57-A7B8-3A604A7EC982}" srcOrd="2" destOrd="0" parTransId="{6562801A-AFD8-4855-ACAF-888B0A21BD10}" sibTransId="{84014EC0-C09A-40E8-A987-AD6E637022FE}"/>
    <dgm:cxn modelId="{75A64F73-41E8-48FE-80CA-46AFE13FC481}" srcId="{4D1F6944-83A6-4869-8486-EDC2D67A3D9F}" destId="{CD2A306E-A3FB-4813-90C3-76FC83267BF4}" srcOrd="0" destOrd="0" parTransId="{BCD92B3D-2FD5-4920-9AA2-1C2847D6A607}" sibTransId="{D38793ED-6FF9-4D4D-8771-8993F4B6E161}"/>
    <dgm:cxn modelId="{EEE9EDC7-8F20-4BAF-8F70-4EA0DCA504E1}" srcId="{4D1F6944-83A6-4869-8486-EDC2D67A3D9F}" destId="{23F3AE2D-0D5C-41B4-98C0-B51B57ABE658}" srcOrd="1" destOrd="0" parTransId="{25174A9B-5DEA-4C4B-B758-982709A213BF}" sibTransId="{CB85F125-2760-4B71-9908-A982CF67E32D}"/>
    <dgm:cxn modelId="{1A35C3A2-713F-43DB-A641-43B1A86E892E}" type="presOf" srcId="{8F4AFC21-0FE5-4F7E-B060-D2B68A97BDFE}" destId="{0183B842-E376-4678-9E59-772700280FE4}" srcOrd="0" destOrd="0" presId="urn:microsoft.com/office/officeart/2005/8/layout/lProcess1"/>
    <dgm:cxn modelId="{92E5D160-E23A-4D06-822D-08CF5E388751}" type="presOf" srcId="{CD2A306E-A3FB-4813-90C3-76FC83267BF4}" destId="{E9E4B227-BACA-4DE6-B667-479CDC09CB62}" srcOrd="0" destOrd="0" presId="urn:microsoft.com/office/officeart/2005/8/layout/lProcess1"/>
    <dgm:cxn modelId="{4442D8D7-9C74-4C3B-B36D-AA1BFB7CF8C0}" type="presOf" srcId="{BCD92B3D-2FD5-4920-9AA2-1C2847D6A607}" destId="{1FA2EFA7-652A-4ED1-A65C-50AB5D1C1864}" srcOrd="0" destOrd="0" presId="urn:microsoft.com/office/officeart/2005/8/layout/lProcess1"/>
    <dgm:cxn modelId="{71A1CDD5-DDE9-4CC9-9E05-2974F86FC511}" type="presOf" srcId="{14A78937-3819-4198-837D-0E16D07CF21D}" destId="{706D6EB0-C37C-4411-BDE3-F1709B7B21FB}" srcOrd="0" destOrd="0" presId="urn:microsoft.com/office/officeart/2005/8/layout/lProcess1"/>
    <dgm:cxn modelId="{A2703074-45F5-4F32-AFF1-4AD93BD144E4}" type="presOf" srcId="{DA68C265-FF9D-4DF0-96DA-346715F91341}" destId="{2E229FC9-984E-4B59-BB45-C16E19BFC0F7}" srcOrd="0" destOrd="0" presId="urn:microsoft.com/office/officeart/2005/8/layout/lProcess1"/>
    <dgm:cxn modelId="{163121CF-B5F2-41D7-9D8B-BF1D05EA1AD0}" type="presOf" srcId="{D38793ED-6FF9-4D4D-8771-8993F4B6E161}" destId="{043AEF8F-B368-4BE8-986D-DAD3934DA04D}" srcOrd="0" destOrd="0" presId="urn:microsoft.com/office/officeart/2005/8/layout/lProcess1"/>
    <dgm:cxn modelId="{9AE5BC2E-5F80-4F7D-9E4A-9A7547D837A8}" type="presParOf" srcId="{A7A4AF56-05EE-4ADC-8993-23E2A7F09AF9}" destId="{39A0574D-33A4-46FD-8040-E961446BE96D}" srcOrd="0" destOrd="0" presId="urn:microsoft.com/office/officeart/2005/8/layout/lProcess1"/>
    <dgm:cxn modelId="{22A5F264-2B15-4134-8C7F-5D0460271F14}" type="presParOf" srcId="{39A0574D-33A4-46FD-8040-E961446BE96D}" destId="{A6906AFD-3EF1-4508-9039-325CBA130975}" srcOrd="0" destOrd="0" presId="urn:microsoft.com/office/officeart/2005/8/layout/lProcess1"/>
    <dgm:cxn modelId="{3CA59282-9393-465E-82D8-4CB1B3D93720}" type="presParOf" srcId="{39A0574D-33A4-46FD-8040-E961446BE96D}" destId="{F2D840EA-F78C-4F66-A42A-FD7DFDBC8D64}" srcOrd="1" destOrd="0" presId="urn:microsoft.com/office/officeart/2005/8/layout/lProcess1"/>
    <dgm:cxn modelId="{7368335D-5733-47CD-9628-A862B1080175}" type="presParOf" srcId="{39A0574D-33A4-46FD-8040-E961446BE96D}" destId="{2E229FC9-984E-4B59-BB45-C16E19BFC0F7}" srcOrd="2" destOrd="0" presId="urn:microsoft.com/office/officeart/2005/8/layout/lProcess1"/>
    <dgm:cxn modelId="{DD522D66-9520-46EF-A430-689AD137F242}" type="presParOf" srcId="{39A0574D-33A4-46FD-8040-E961446BE96D}" destId="{6A8A3130-D5E1-4287-B563-3819BDFA29AC}" srcOrd="3" destOrd="0" presId="urn:microsoft.com/office/officeart/2005/8/layout/lProcess1"/>
    <dgm:cxn modelId="{B90B333D-1FE8-472B-A947-C7176E703478}" type="presParOf" srcId="{39A0574D-33A4-46FD-8040-E961446BE96D}" destId="{1656F818-EFD1-45BC-9F86-BED82070D240}" srcOrd="4" destOrd="0" presId="urn:microsoft.com/office/officeart/2005/8/layout/lProcess1"/>
    <dgm:cxn modelId="{0FF4087C-614C-4B1C-B14E-4F278CBF0180}" type="presParOf" srcId="{A7A4AF56-05EE-4ADC-8993-23E2A7F09AF9}" destId="{40C808A9-0976-42B3-8D66-5998B76821C8}" srcOrd="1" destOrd="0" presId="urn:microsoft.com/office/officeart/2005/8/layout/lProcess1"/>
    <dgm:cxn modelId="{4F3399BE-1A2E-43D4-BEAD-96D6D271DD0C}" type="presParOf" srcId="{A7A4AF56-05EE-4ADC-8993-23E2A7F09AF9}" destId="{18D76675-CC7C-41BE-A05E-32C116D6E988}" srcOrd="2" destOrd="0" presId="urn:microsoft.com/office/officeart/2005/8/layout/lProcess1"/>
    <dgm:cxn modelId="{2A3A798B-47AF-490C-B4B7-E66BE8846E87}" type="presParOf" srcId="{18D76675-CC7C-41BE-A05E-32C116D6E988}" destId="{F1876663-9AE4-414E-A63C-8702A1C57795}" srcOrd="0" destOrd="0" presId="urn:microsoft.com/office/officeart/2005/8/layout/lProcess1"/>
    <dgm:cxn modelId="{42DD2074-511C-4FD4-BF2E-9BD5F6B21E4C}" type="presParOf" srcId="{18D76675-CC7C-41BE-A05E-32C116D6E988}" destId="{1FA2EFA7-652A-4ED1-A65C-50AB5D1C1864}" srcOrd="1" destOrd="0" presId="urn:microsoft.com/office/officeart/2005/8/layout/lProcess1"/>
    <dgm:cxn modelId="{26EBAA4D-6C73-4B16-922B-55E162B85AA4}" type="presParOf" srcId="{18D76675-CC7C-41BE-A05E-32C116D6E988}" destId="{E9E4B227-BACA-4DE6-B667-479CDC09CB62}" srcOrd="2" destOrd="0" presId="urn:microsoft.com/office/officeart/2005/8/layout/lProcess1"/>
    <dgm:cxn modelId="{54133C3A-CC89-49A3-A68D-64F98249A1AA}" type="presParOf" srcId="{18D76675-CC7C-41BE-A05E-32C116D6E988}" destId="{043AEF8F-B368-4BE8-986D-DAD3934DA04D}" srcOrd="3" destOrd="0" presId="urn:microsoft.com/office/officeart/2005/8/layout/lProcess1"/>
    <dgm:cxn modelId="{D051C651-5CB5-4206-8497-C837BFFEF321}" type="presParOf" srcId="{18D76675-CC7C-41BE-A05E-32C116D6E988}" destId="{94B897C0-5FFF-4F06-AAA6-EFC13719980E}" srcOrd="4" destOrd="0" presId="urn:microsoft.com/office/officeart/2005/8/layout/lProcess1"/>
    <dgm:cxn modelId="{E2478974-2891-48CA-A0A4-FD0401EABBE6}" type="presParOf" srcId="{A7A4AF56-05EE-4ADC-8993-23E2A7F09AF9}" destId="{7442652B-4A70-4013-B489-E19FA762E5E2}" srcOrd="3" destOrd="0" presId="urn:microsoft.com/office/officeart/2005/8/layout/lProcess1"/>
    <dgm:cxn modelId="{1078C634-1AF0-46FB-BF32-3ABFF0921759}" type="presParOf" srcId="{A7A4AF56-05EE-4ADC-8993-23E2A7F09AF9}" destId="{58CD39A3-14FF-4A03-B922-54B6848CA834}" srcOrd="4" destOrd="0" presId="urn:microsoft.com/office/officeart/2005/8/layout/lProcess1"/>
    <dgm:cxn modelId="{14A36C39-7198-4011-927C-EDD53C7EEDB6}" type="presParOf" srcId="{58CD39A3-14FF-4A03-B922-54B6848CA834}" destId="{073691D8-2B83-4CAA-A75F-3F21B6AFB8FE}" srcOrd="0" destOrd="0" presId="urn:microsoft.com/office/officeart/2005/8/layout/lProcess1"/>
    <dgm:cxn modelId="{38F72D98-DD7C-4DCF-A640-AF8015422DFD}" type="presParOf" srcId="{58CD39A3-14FF-4A03-B922-54B6848CA834}" destId="{564D64DA-E17B-4C03-ABDE-69B095020F05}" srcOrd="1" destOrd="0" presId="urn:microsoft.com/office/officeart/2005/8/layout/lProcess1"/>
    <dgm:cxn modelId="{EDC58D8F-8C4F-4B4D-ABA1-A5E65286D2D3}" type="presParOf" srcId="{58CD39A3-14FF-4A03-B922-54B6848CA834}" destId="{706D6EB0-C37C-4411-BDE3-F1709B7B21FB}" srcOrd="2" destOrd="0" presId="urn:microsoft.com/office/officeart/2005/8/layout/lProcess1"/>
    <dgm:cxn modelId="{4E033723-D83B-450C-B6E0-64520971DF76}" type="presParOf" srcId="{58CD39A3-14FF-4A03-B922-54B6848CA834}" destId="{8808DB58-4D8D-48AD-BBA2-8BB613D46927}" srcOrd="3" destOrd="0" presId="urn:microsoft.com/office/officeart/2005/8/layout/lProcess1"/>
    <dgm:cxn modelId="{41A636E2-AFC1-4491-BD0B-237E7E5634CE}" type="presParOf" srcId="{58CD39A3-14FF-4A03-B922-54B6848CA834}" destId="{0183B842-E376-4678-9E59-772700280FE4}" srcOrd="4" destOrd="0" presId="urn:microsoft.com/office/officeart/2005/8/layout/lProcess1"/>
  </dgm:cxnLst>
  <dgm:bg>
    <a:noFill/>
  </dgm:bg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DC03E85A-8C85-49CA-B7C0-AFCB9D4F26E9}" type="doc">
      <dgm:prSet loTypeId="urn:microsoft.com/office/officeart/2005/8/layout/cycle2" loCatId="cycle" qsTypeId="urn:microsoft.com/office/officeart/2005/8/quickstyle/3d1" qsCatId="3D" csTypeId="urn:microsoft.com/office/officeart/2005/8/colors/colorful1#1" csCatId="colorful" phldr="1"/>
      <dgm:spPr/>
      <dgm:t>
        <a:bodyPr/>
        <a:lstStyle/>
        <a:p>
          <a:endParaRPr lang="ru-RU"/>
        </a:p>
      </dgm:t>
    </dgm:pt>
    <dgm:pt modelId="{55E28BE6-C4F0-4FD1-8A27-6FCBA6D7EAA6}">
      <dgm:prSet phldrT="[Текст]" custT="1"/>
      <dgm:spPr/>
      <dgm:t>
        <a:bodyPr/>
        <a:lstStyle/>
        <a:p>
          <a:r>
            <a:rPr lang="ru-RU" sz="800" dirty="0" smtClean="0">
              <a:latin typeface="Times New Roman" pitchFamily="18" charset="0"/>
              <a:cs typeface="Times New Roman" pitchFamily="18" charset="0"/>
            </a:rPr>
            <a:t>СОРТИРОВКА</a:t>
          </a:r>
        </a:p>
        <a:p>
          <a:r>
            <a:rPr lang="ru-RU" sz="800" dirty="0" smtClean="0">
              <a:latin typeface="Times New Roman" pitchFamily="18" charset="0"/>
              <a:cs typeface="Times New Roman" pitchFamily="18" charset="0"/>
            </a:rPr>
            <a:t> «Избавься от ненужного!»</a:t>
          </a:r>
          <a:endParaRPr lang="ru-RU" sz="800" dirty="0">
            <a:latin typeface="Times New Roman" pitchFamily="18" charset="0"/>
            <a:cs typeface="Times New Roman" pitchFamily="18" charset="0"/>
          </a:endParaRPr>
        </a:p>
      </dgm:t>
    </dgm:pt>
    <dgm:pt modelId="{9D0B41F5-123A-4DD0-953A-48B58E8419C8}" type="parTrans" cxnId="{7E93D9CC-193A-4463-80F0-A4DFBDBF2D57}">
      <dgm:prSet/>
      <dgm:spPr/>
      <dgm:t>
        <a:bodyPr/>
        <a:lstStyle/>
        <a:p>
          <a:endParaRPr lang="ru-RU"/>
        </a:p>
      </dgm:t>
    </dgm:pt>
    <dgm:pt modelId="{6D9DA4DF-4526-40BC-A76E-C6CCFFE1A659}" type="sibTrans" cxnId="{7E93D9CC-193A-4463-80F0-A4DFBDBF2D57}">
      <dgm:prSet/>
      <dgm:spPr/>
      <dgm:t>
        <a:bodyPr/>
        <a:lstStyle/>
        <a:p>
          <a:endParaRPr lang="ru-RU"/>
        </a:p>
      </dgm:t>
    </dgm:pt>
    <dgm:pt modelId="{F8B3D3A1-7CFB-4D82-B879-428A2412A5A0}">
      <dgm:prSet phldrT="[Текст]" custT="1"/>
      <dgm:spPr/>
      <dgm:t>
        <a:bodyPr/>
        <a:lstStyle/>
        <a:p>
          <a:r>
            <a:rPr lang="ru-RU" sz="800" dirty="0" smtClean="0">
              <a:latin typeface="Times New Roman" pitchFamily="18" charset="0"/>
              <a:cs typeface="Times New Roman" pitchFamily="18" charset="0"/>
            </a:rPr>
            <a:t>СОБЛЮДЕНИЕ  ПОРЯДКА</a:t>
          </a:r>
        </a:p>
        <a:p>
          <a:r>
            <a:rPr lang="ru-RU" sz="800" dirty="0" smtClean="0">
              <a:latin typeface="Times New Roman" pitchFamily="18" charset="0"/>
              <a:cs typeface="Times New Roman" pitchFamily="18" charset="0"/>
            </a:rPr>
            <a:t> «Каждая вещь на своем месте!»</a:t>
          </a:r>
          <a:endParaRPr lang="ru-RU" sz="800" dirty="0">
            <a:latin typeface="Times New Roman" pitchFamily="18" charset="0"/>
            <a:cs typeface="Times New Roman" pitchFamily="18" charset="0"/>
          </a:endParaRPr>
        </a:p>
      </dgm:t>
    </dgm:pt>
    <dgm:pt modelId="{FAAE0BFF-B9A9-497E-9932-1402D1C86C26}" type="parTrans" cxnId="{1C9EBAED-30AF-43F7-BC92-4265A75717F1}">
      <dgm:prSet/>
      <dgm:spPr/>
      <dgm:t>
        <a:bodyPr/>
        <a:lstStyle/>
        <a:p>
          <a:endParaRPr lang="ru-RU"/>
        </a:p>
      </dgm:t>
    </dgm:pt>
    <dgm:pt modelId="{22548587-2144-4395-9859-F3F0801BEC4C}" type="sibTrans" cxnId="{1C9EBAED-30AF-43F7-BC92-4265A75717F1}">
      <dgm:prSet/>
      <dgm:spPr/>
      <dgm:t>
        <a:bodyPr/>
        <a:lstStyle/>
        <a:p>
          <a:endParaRPr lang="ru-RU"/>
        </a:p>
      </dgm:t>
    </dgm:pt>
    <dgm:pt modelId="{1EC860EC-14F2-45EE-9D60-C6244B57CE60}">
      <dgm:prSet phldrT="[Текст]" custT="1"/>
      <dgm:spPr/>
      <dgm:t>
        <a:bodyPr/>
        <a:lstStyle/>
        <a:p>
          <a:r>
            <a:rPr lang="ru-RU" sz="900" dirty="0" smtClean="0">
              <a:latin typeface="Times New Roman" pitchFamily="18" charset="0"/>
              <a:cs typeface="Times New Roman" pitchFamily="18" charset="0"/>
            </a:rPr>
            <a:t>СОДЕРЖАНИЕ В ЧИСТОТЕ</a:t>
          </a:r>
        </a:p>
        <a:p>
          <a:r>
            <a:rPr lang="ru-RU" sz="900" dirty="0" smtClean="0">
              <a:latin typeface="Times New Roman" pitchFamily="18" charset="0"/>
              <a:cs typeface="Times New Roman" pitchFamily="18" charset="0"/>
            </a:rPr>
            <a:t> «Содержи рабочее место в чистоте!»</a:t>
          </a:r>
          <a:endParaRPr lang="ru-RU" sz="900" dirty="0">
            <a:latin typeface="Times New Roman" pitchFamily="18" charset="0"/>
            <a:cs typeface="Times New Roman" pitchFamily="18" charset="0"/>
          </a:endParaRPr>
        </a:p>
      </dgm:t>
    </dgm:pt>
    <dgm:pt modelId="{C34C816A-E430-4422-85FC-FB53D4B5BC38}" type="parTrans" cxnId="{18A1A1DC-0A2A-4C79-9B02-92F4DAAE2B3E}">
      <dgm:prSet/>
      <dgm:spPr/>
      <dgm:t>
        <a:bodyPr/>
        <a:lstStyle/>
        <a:p>
          <a:endParaRPr lang="ru-RU"/>
        </a:p>
      </dgm:t>
    </dgm:pt>
    <dgm:pt modelId="{FEC4ADED-BD3C-4799-8E50-F54B5129BEC9}" type="sibTrans" cxnId="{18A1A1DC-0A2A-4C79-9B02-92F4DAAE2B3E}">
      <dgm:prSet/>
      <dgm:spPr/>
      <dgm:t>
        <a:bodyPr/>
        <a:lstStyle/>
        <a:p>
          <a:endParaRPr lang="ru-RU"/>
        </a:p>
      </dgm:t>
    </dgm:pt>
    <dgm:pt modelId="{627A723E-FD5C-41BF-9E1C-320FEE3AB2DD}">
      <dgm:prSet phldrT="[Текст]" custT="1"/>
      <dgm:spPr/>
      <dgm:t>
        <a:bodyPr/>
        <a:lstStyle/>
        <a:p>
          <a:r>
            <a:rPr lang="ru-RU" sz="1000" dirty="0" smtClean="0">
              <a:latin typeface="Times New Roman" pitchFamily="18" charset="0"/>
              <a:cs typeface="Times New Roman" pitchFamily="18" charset="0"/>
            </a:rPr>
            <a:t>СТАНДАРТИЗАЦИЯ «Создай стандарт рабочего места!»</a:t>
          </a:r>
          <a:endParaRPr lang="ru-RU" sz="1000" dirty="0">
            <a:latin typeface="Times New Roman" pitchFamily="18" charset="0"/>
            <a:cs typeface="Times New Roman" pitchFamily="18" charset="0"/>
          </a:endParaRPr>
        </a:p>
      </dgm:t>
    </dgm:pt>
    <dgm:pt modelId="{65495F54-2997-4189-9FF5-DCFA69E0A330}" type="parTrans" cxnId="{7D8E38D3-3BBA-4E88-BCDA-3217E34CCEDA}">
      <dgm:prSet/>
      <dgm:spPr/>
      <dgm:t>
        <a:bodyPr/>
        <a:lstStyle/>
        <a:p>
          <a:endParaRPr lang="ru-RU"/>
        </a:p>
      </dgm:t>
    </dgm:pt>
    <dgm:pt modelId="{BECAB646-42AC-45CE-B6F2-7A1263B67277}" type="sibTrans" cxnId="{7D8E38D3-3BBA-4E88-BCDA-3217E34CCEDA}">
      <dgm:prSet/>
      <dgm:spPr/>
      <dgm:t>
        <a:bodyPr/>
        <a:lstStyle/>
        <a:p>
          <a:endParaRPr lang="ru-RU"/>
        </a:p>
      </dgm:t>
    </dgm:pt>
    <dgm:pt modelId="{30DA382D-0A9E-4597-A883-1C75B5F6900E}">
      <dgm:prSet phldrT="[Текст]" custT="1"/>
      <dgm:spPr/>
      <dgm:t>
        <a:bodyPr/>
        <a:lstStyle/>
        <a:p>
          <a:r>
            <a:rPr lang="ru-RU" sz="800" dirty="0" smtClean="0">
              <a:latin typeface="Times New Roman" pitchFamily="18" charset="0"/>
              <a:cs typeface="Times New Roman" pitchFamily="18" charset="0"/>
            </a:rPr>
            <a:t>СОВЕРШЕНСТВОВАНИЕ «Постоянно совершенствуй свое рабочее место!»</a:t>
          </a:r>
          <a:endParaRPr lang="ru-RU" sz="800" dirty="0">
            <a:latin typeface="Times New Roman" pitchFamily="18" charset="0"/>
            <a:cs typeface="Times New Roman" pitchFamily="18" charset="0"/>
          </a:endParaRPr>
        </a:p>
      </dgm:t>
    </dgm:pt>
    <dgm:pt modelId="{A5E4BEF3-5D36-4844-8916-61769F5EC2FA}" type="parTrans" cxnId="{4F0D6A9C-EA7B-48A3-B2DD-C31F50BC00F9}">
      <dgm:prSet/>
      <dgm:spPr/>
      <dgm:t>
        <a:bodyPr/>
        <a:lstStyle/>
        <a:p>
          <a:endParaRPr lang="ru-RU"/>
        </a:p>
      </dgm:t>
    </dgm:pt>
    <dgm:pt modelId="{3B5BFAB9-ADCF-4B67-AF81-A5E792B723ED}" type="sibTrans" cxnId="{4F0D6A9C-EA7B-48A3-B2DD-C31F50BC00F9}">
      <dgm:prSet/>
      <dgm:spPr/>
      <dgm:t>
        <a:bodyPr/>
        <a:lstStyle/>
        <a:p>
          <a:endParaRPr lang="ru-RU"/>
        </a:p>
      </dgm:t>
    </dgm:pt>
    <dgm:pt modelId="{5F2C388F-5252-459B-9ED8-ECF094264561}" type="pres">
      <dgm:prSet presAssocID="{DC03E85A-8C85-49CA-B7C0-AFCB9D4F26E9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8AB7B14-6BDF-4B1E-84E9-5A7F22CDC41E}" type="pres">
      <dgm:prSet presAssocID="{55E28BE6-C4F0-4FD1-8A27-6FCBA6D7EAA6}" presName="node" presStyleLbl="node1" presStyleIdx="0" presStyleCnt="5" custScaleX="112331" custScaleY="10522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5D19596-461D-49C5-99B9-D7ED5E57D582}" type="pres">
      <dgm:prSet presAssocID="{6D9DA4DF-4526-40BC-A76E-C6CCFFE1A659}" presName="sibTrans" presStyleLbl="sibTrans2D1" presStyleIdx="0" presStyleCnt="5"/>
      <dgm:spPr/>
      <dgm:t>
        <a:bodyPr/>
        <a:lstStyle/>
        <a:p>
          <a:endParaRPr lang="ru-RU"/>
        </a:p>
      </dgm:t>
    </dgm:pt>
    <dgm:pt modelId="{4E83749B-EC29-439E-9615-E490F904A032}" type="pres">
      <dgm:prSet presAssocID="{6D9DA4DF-4526-40BC-A76E-C6CCFFE1A659}" presName="connectorText" presStyleLbl="sibTrans2D1" presStyleIdx="0" presStyleCnt="5"/>
      <dgm:spPr/>
      <dgm:t>
        <a:bodyPr/>
        <a:lstStyle/>
        <a:p>
          <a:endParaRPr lang="ru-RU"/>
        </a:p>
      </dgm:t>
    </dgm:pt>
    <dgm:pt modelId="{36EAB30B-89CE-4329-AC22-518EBC431029}" type="pres">
      <dgm:prSet presAssocID="{F8B3D3A1-7CFB-4D82-B879-428A2412A5A0}" presName="node" presStyleLbl="node1" presStyleIdx="1" presStyleCnt="5" custScaleX="114507" custScaleY="9314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7AFDADE-B0BD-45A2-ACCA-E3F4AF397E36}" type="pres">
      <dgm:prSet presAssocID="{22548587-2144-4395-9859-F3F0801BEC4C}" presName="sibTrans" presStyleLbl="sibTrans2D1" presStyleIdx="1" presStyleCnt="5"/>
      <dgm:spPr/>
      <dgm:t>
        <a:bodyPr/>
        <a:lstStyle/>
        <a:p>
          <a:endParaRPr lang="ru-RU"/>
        </a:p>
      </dgm:t>
    </dgm:pt>
    <dgm:pt modelId="{0C746A50-CC58-4B78-A804-B5B5E52AF83C}" type="pres">
      <dgm:prSet presAssocID="{22548587-2144-4395-9859-F3F0801BEC4C}" presName="connectorText" presStyleLbl="sibTrans2D1" presStyleIdx="1" presStyleCnt="5"/>
      <dgm:spPr/>
      <dgm:t>
        <a:bodyPr/>
        <a:lstStyle/>
        <a:p>
          <a:endParaRPr lang="ru-RU"/>
        </a:p>
      </dgm:t>
    </dgm:pt>
    <dgm:pt modelId="{C7893E96-27A9-45A9-9B5B-1F2067579F6C}" type="pres">
      <dgm:prSet presAssocID="{1EC860EC-14F2-45EE-9D60-C6244B57CE60}" presName="node" presStyleLbl="node1" presStyleIdx="2" presStyleCnt="5" custScaleX="125274" custScaleY="119054" custRadScaleRad="99710" custRadScaleInc="-282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623F745-E047-4CF9-9DBE-273D60162C61}" type="pres">
      <dgm:prSet presAssocID="{FEC4ADED-BD3C-4799-8E50-F54B5129BEC9}" presName="sibTrans" presStyleLbl="sibTrans2D1" presStyleIdx="2" presStyleCnt="5"/>
      <dgm:spPr/>
      <dgm:t>
        <a:bodyPr/>
        <a:lstStyle/>
        <a:p>
          <a:endParaRPr lang="ru-RU"/>
        </a:p>
      </dgm:t>
    </dgm:pt>
    <dgm:pt modelId="{833FEA99-E8ED-4A0B-B1C3-5399936FB50F}" type="pres">
      <dgm:prSet presAssocID="{FEC4ADED-BD3C-4799-8E50-F54B5129BEC9}" presName="connectorText" presStyleLbl="sibTrans2D1" presStyleIdx="2" presStyleCnt="5"/>
      <dgm:spPr/>
      <dgm:t>
        <a:bodyPr/>
        <a:lstStyle/>
        <a:p>
          <a:endParaRPr lang="ru-RU"/>
        </a:p>
      </dgm:t>
    </dgm:pt>
    <dgm:pt modelId="{FD3EFE77-43C4-4887-849C-E0CDABC72129}" type="pres">
      <dgm:prSet presAssocID="{627A723E-FD5C-41BF-9E1C-320FEE3AB2DD}" presName="node" presStyleLbl="node1" presStyleIdx="3" presStyleCnt="5" custScaleX="116501" custScaleY="11219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9229A70-123C-47E1-B65A-32B34DF751B2}" type="pres">
      <dgm:prSet presAssocID="{BECAB646-42AC-45CE-B6F2-7A1263B67277}" presName="sibTrans" presStyleLbl="sibTrans2D1" presStyleIdx="3" presStyleCnt="5"/>
      <dgm:spPr/>
      <dgm:t>
        <a:bodyPr/>
        <a:lstStyle/>
        <a:p>
          <a:endParaRPr lang="ru-RU"/>
        </a:p>
      </dgm:t>
    </dgm:pt>
    <dgm:pt modelId="{038C5E11-F448-4994-9ACE-04DC62C44A53}" type="pres">
      <dgm:prSet presAssocID="{BECAB646-42AC-45CE-B6F2-7A1263B67277}" presName="connectorText" presStyleLbl="sibTrans2D1" presStyleIdx="3" presStyleCnt="5"/>
      <dgm:spPr/>
      <dgm:t>
        <a:bodyPr/>
        <a:lstStyle/>
        <a:p>
          <a:endParaRPr lang="ru-RU"/>
        </a:p>
      </dgm:t>
    </dgm:pt>
    <dgm:pt modelId="{C8023C2F-F440-434C-ABF6-04C611148D95}" type="pres">
      <dgm:prSet presAssocID="{30DA382D-0A9E-4597-A883-1C75B5F6900E}" presName="node" presStyleLbl="node1" presStyleIdx="4" presStyleCnt="5" custScaleX="121961" custScaleY="10439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782732-F035-4EB9-86F8-383576EFFDE3}" type="pres">
      <dgm:prSet presAssocID="{3B5BFAB9-ADCF-4B67-AF81-A5E792B723ED}" presName="sibTrans" presStyleLbl="sibTrans2D1" presStyleIdx="4" presStyleCnt="5"/>
      <dgm:spPr/>
      <dgm:t>
        <a:bodyPr/>
        <a:lstStyle/>
        <a:p>
          <a:endParaRPr lang="ru-RU"/>
        </a:p>
      </dgm:t>
    </dgm:pt>
    <dgm:pt modelId="{3176CAFE-2B0F-44EC-8D82-EC22836C0DE7}" type="pres">
      <dgm:prSet presAssocID="{3B5BFAB9-ADCF-4B67-AF81-A5E792B723ED}" presName="connectorText" presStyleLbl="sibTrans2D1" presStyleIdx="4" presStyleCnt="5"/>
      <dgm:spPr/>
      <dgm:t>
        <a:bodyPr/>
        <a:lstStyle/>
        <a:p>
          <a:endParaRPr lang="ru-RU"/>
        </a:p>
      </dgm:t>
    </dgm:pt>
  </dgm:ptLst>
  <dgm:cxnLst>
    <dgm:cxn modelId="{C5F69401-4C69-4C67-8219-F5C59183177C}" type="presOf" srcId="{FEC4ADED-BD3C-4799-8E50-F54B5129BEC9}" destId="{833FEA99-E8ED-4A0B-B1C3-5399936FB50F}" srcOrd="1" destOrd="0" presId="urn:microsoft.com/office/officeart/2005/8/layout/cycle2"/>
    <dgm:cxn modelId="{FDFD28B8-13C8-48D3-9263-2CB550E05B27}" type="presOf" srcId="{22548587-2144-4395-9859-F3F0801BEC4C}" destId="{67AFDADE-B0BD-45A2-ACCA-E3F4AF397E36}" srcOrd="0" destOrd="0" presId="urn:microsoft.com/office/officeart/2005/8/layout/cycle2"/>
    <dgm:cxn modelId="{F2113629-C1E9-4B5E-985F-E96EE4E6E70C}" type="presOf" srcId="{6D9DA4DF-4526-40BC-A76E-C6CCFFE1A659}" destId="{95D19596-461D-49C5-99B9-D7ED5E57D582}" srcOrd="0" destOrd="0" presId="urn:microsoft.com/office/officeart/2005/8/layout/cycle2"/>
    <dgm:cxn modelId="{4F0D6A9C-EA7B-48A3-B2DD-C31F50BC00F9}" srcId="{DC03E85A-8C85-49CA-B7C0-AFCB9D4F26E9}" destId="{30DA382D-0A9E-4597-A883-1C75B5F6900E}" srcOrd="4" destOrd="0" parTransId="{A5E4BEF3-5D36-4844-8916-61769F5EC2FA}" sibTransId="{3B5BFAB9-ADCF-4B67-AF81-A5E792B723ED}"/>
    <dgm:cxn modelId="{AD7DDAE7-FF85-45A4-9AB8-4B89725DCDDE}" type="presOf" srcId="{6D9DA4DF-4526-40BC-A76E-C6CCFFE1A659}" destId="{4E83749B-EC29-439E-9615-E490F904A032}" srcOrd="1" destOrd="0" presId="urn:microsoft.com/office/officeart/2005/8/layout/cycle2"/>
    <dgm:cxn modelId="{4A8D897C-9826-4433-A121-5E5AF251D754}" type="presOf" srcId="{F8B3D3A1-7CFB-4D82-B879-428A2412A5A0}" destId="{36EAB30B-89CE-4329-AC22-518EBC431029}" srcOrd="0" destOrd="0" presId="urn:microsoft.com/office/officeart/2005/8/layout/cycle2"/>
    <dgm:cxn modelId="{24EB4397-490F-4F49-AA36-1CFC3AAACF84}" type="presOf" srcId="{3B5BFAB9-ADCF-4B67-AF81-A5E792B723ED}" destId="{3176CAFE-2B0F-44EC-8D82-EC22836C0DE7}" srcOrd="1" destOrd="0" presId="urn:microsoft.com/office/officeart/2005/8/layout/cycle2"/>
    <dgm:cxn modelId="{3F173CA2-F275-4A95-9850-6354FF7D1D64}" type="presOf" srcId="{FEC4ADED-BD3C-4799-8E50-F54B5129BEC9}" destId="{B623F745-E047-4CF9-9DBE-273D60162C61}" srcOrd="0" destOrd="0" presId="urn:microsoft.com/office/officeart/2005/8/layout/cycle2"/>
    <dgm:cxn modelId="{248ED0AD-E1FB-4805-9AAB-CF6FB5D9EC46}" type="presOf" srcId="{30DA382D-0A9E-4597-A883-1C75B5F6900E}" destId="{C8023C2F-F440-434C-ABF6-04C611148D95}" srcOrd="0" destOrd="0" presId="urn:microsoft.com/office/officeart/2005/8/layout/cycle2"/>
    <dgm:cxn modelId="{5AA513FC-0CDB-46EB-AEE0-F93316E96632}" type="presOf" srcId="{55E28BE6-C4F0-4FD1-8A27-6FCBA6D7EAA6}" destId="{88AB7B14-6BDF-4B1E-84E9-5A7F22CDC41E}" srcOrd="0" destOrd="0" presId="urn:microsoft.com/office/officeart/2005/8/layout/cycle2"/>
    <dgm:cxn modelId="{1C9EBAED-30AF-43F7-BC92-4265A75717F1}" srcId="{DC03E85A-8C85-49CA-B7C0-AFCB9D4F26E9}" destId="{F8B3D3A1-7CFB-4D82-B879-428A2412A5A0}" srcOrd="1" destOrd="0" parTransId="{FAAE0BFF-B9A9-497E-9932-1402D1C86C26}" sibTransId="{22548587-2144-4395-9859-F3F0801BEC4C}"/>
    <dgm:cxn modelId="{3C608231-8214-4E55-9358-6FE9C3277704}" type="presOf" srcId="{BECAB646-42AC-45CE-B6F2-7A1263B67277}" destId="{E9229A70-123C-47E1-B65A-32B34DF751B2}" srcOrd="0" destOrd="0" presId="urn:microsoft.com/office/officeart/2005/8/layout/cycle2"/>
    <dgm:cxn modelId="{85A9EFFB-6BA2-4EC0-A9C9-D943458F86C8}" type="presOf" srcId="{22548587-2144-4395-9859-F3F0801BEC4C}" destId="{0C746A50-CC58-4B78-A804-B5B5E52AF83C}" srcOrd="1" destOrd="0" presId="urn:microsoft.com/office/officeart/2005/8/layout/cycle2"/>
    <dgm:cxn modelId="{AFD6124D-0FE2-435D-B41B-D5EC1506CA3D}" type="presOf" srcId="{BECAB646-42AC-45CE-B6F2-7A1263B67277}" destId="{038C5E11-F448-4994-9ACE-04DC62C44A53}" srcOrd="1" destOrd="0" presId="urn:microsoft.com/office/officeart/2005/8/layout/cycle2"/>
    <dgm:cxn modelId="{4A3A8A6B-CF2F-47FF-A4FD-2D2284E12571}" type="presOf" srcId="{DC03E85A-8C85-49CA-B7C0-AFCB9D4F26E9}" destId="{5F2C388F-5252-459B-9ED8-ECF094264561}" srcOrd="0" destOrd="0" presId="urn:microsoft.com/office/officeart/2005/8/layout/cycle2"/>
    <dgm:cxn modelId="{7E93D9CC-193A-4463-80F0-A4DFBDBF2D57}" srcId="{DC03E85A-8C85-49CA-B7C0-AFCB9D4F26E9}" destId="{55E28BE6-C4F0-4FD1-8A27-6FCBA6D7EAA6}" srcOrd="0" destOrd="0" parTransId="{9D0B41F5-123A-4DD0-953A-48B58E8419C8}" sibTransId="{6D9DA4DF-4526-40BC-A76E-C6CCFFE1A659}"/>
    <dgm:cxn modelId="{18A1A1DC-0A2A-4C79-9B02-92F4DAAE2B3E}" srcId="{DC03E85A-8C85-49CA-B7C0-AFCB9D4F26E9}" destId="{1EC860EC-14F2-45EE-9D60-C6244B57CE60}" srcOrd="2" destOrd="0" parTransId="{C34C816A-E430-4422-85FC-FB53D4B5BC38}" sibTransId="{FEC4ADED-BD3C-4799-8E50-F54B5129BEC9}"/>
    <dgm:cxn modelId="{BD487FDD-2004-44A1-A107-D1E9138FFB45}" type="presOf" srcId="{1EC860EC-14F2-45EE-9D60-C6244B57CE60}" destId="{C7893E96-27A9-45A9-9B5B-1F2067579F6C}" srcOrd="0" destOrd="0" presId="urn:microsoft.com/office/officeart/2005/8/layout/cycle2"/>
    <dgm:cxn modelId="{9E62999C-A735-4957-9D2D-CC9EA35C7C60}" type="presOf" srcId="{3B5BFAB9-ADCF-4B67-AF81-A5E792B723ED}" destId="{28782732-F035-4EB9-86F8-383576EFFDE3}" srcOrd="0" destOrd="0" presId="urn:microsoft.com/office/officeart/2005/8/layout/cycle2"/>
    <dgm:cxn modelId="{71A99E54-98CF-4A21-8935-D33D63FDC7C0}" type="presOf" srcId="{627A723E-FD5C-41BF-9E1C-320FEE3AB2DD}" destId="{FD3EFE77-43C4-4887-849C-E0CDABC72129}" srcOrd="0" destOrd="0" presId="urn:microsoft.com/office/officeart/2005/8/layout/cycle2"/>
    <dgm:cxn modelId="{7D8E38D3-3BBA-4E88-BCDA-3217E34CCEDA}" srcId="{DC03E85A-8C85-49CA-B7C0-AFCB9D4F26E9}" destId="{627A723E-FD5C-41BF-9E1C-320FEE3AB2DD}" srcOrd="3" destOrd="0" parTransId="{65495F54-2997-4189-9FF5-DCFA69E0A330}" sibTransId="{BECAB646-42AC-45CE-B6F2-7A1263B67277}"/>
    <dgm:cxn modelId="{72301C1C-3713-4FA4-B2FD-FFA5831F6A18}" type="presParOf" srcId="{5F2C388F-5252-459B-9ED8-ECF094264561}" destId="{88AB7B14-6BDF-4B1E-84E9-5A7F22CDC41E}" srcOrd="0" destOrd="0" presId="urn:microsoft.com/office/officeart/2005/8/layout/cycle2"/>
    <dgm:cxn modelId="{43105B0A-DF9A-4AF6-B515-0B934F4953EF}" type="presParOf" srcId="{5F2C388F-5252-459B-9ED8-ECF094264561}" destId="{95D19596-461D-49C5-99B9-D7ED5E57D582}" srcOrd="1" destOrd="0" presId="urn:microsoft.com/office/officeart/2005/8/layout/cycle2"/>
    <dgm:cxn modelId="{2392E7AC-C6C2-40E9-B4BC-DAE01BE0E577}" type="presParOf" srcId="{95D19596-461D-49C5-99B9-D7ED5E57D582}" destId="{4E83749B-EC29-439E-9615-E490F904A032}" srcOrd="0" destOrd="0" presId="urn:microsoft.com/office/officeart/2005/8/layout/cycle2"/>
    <dgm:cxn modelId="{7BDF957B-B2F1-4B4B-9FEC-39DFF4F3DC3D}" type="presParOf" srcId="{5F2C388F-5252-459B-9ED8-ECF094264561}" destId="{36EAB30B-89CE-4329-AC22-518EBC431029}" srcOrd="2" destOrd="0" presId="urn:microsoft.com/office/officeart/2005/8/layout/cycle2"/>
    <dgm:cxn modelId="{F70917D2-CEB9-4E1F-999A-3F6416D2E768}" type="presParOf" srcId="{5F2C388F-5252-459B-9ED8-ECF094264561}" destId="{67AFDADE-B0BD-45A2-ACCA-E3F4AF397E36}" srcOrd="3" destOrd="0" presId="urn:microsoft.com/office/officeart/2005/8/layout/cycle2"/>
    <dgm:cxn modelId="{B9405A44-8F3E-4DEF-8E68-550F658A6177}" type="presParOf" srcId="{67AFDADE-B0BD-45A2-ACCA-E3F4AF397E36}" destId="{0C746A50-CC58-4B78-A804-B5B5E52AF83C}" srcOrd="0" destOrd="0" presId="urn:microsoft.com/office/officeart/2005/8/layout/cycle2"/>
    <dgm:cxn modelId="{BB00740A-B7C5-4E60-9E9B-54FC28650755}" type="presParOf" srcId="{5F2C388F-5252-459B-9ED8-ECF094264561}" destId="{C7893E96-27A9-45A9-9B5B-1F2067579F6C}" srcOrd="4" destOrd="0" presId="urn:microsoft.com/office/officeart/2005/8/layout/cycle2"/>
    <dgm:cxn modelId="{379ED572-F11F-47E6-AD3D-04F40667815E}" type="presParOf" srcId="{5F2C388F-5252-459B-9ED8-ECF094264561}" destId="{B623F745-E047-4CF9-9DBE-273D60162C61}" srcOrd="5" destOrd="0" presId="urn:microsoft.com/office/officeart/2005/8/layout/cycle2"/>
    <dgm:cxn modelId="{3A7AD24A-F29A-49B5-BFFC-0E83C1E76ABA}" type="presParOf" srcId="{B623F745-E047-4CF9-9DBE-273D60162C61}" destId="{833FEA99-E8ED-4A0B-B1C3-5399936FB50F}" srcOrd="0" destOrd="0" presId="urn:microsoft.com/office/officeart/2005/8/layout/cycle2"/>
    <dgm:cxn modelId="{13A937FD-107E-4CCE-B4DB-054D673A3FB7}" type="presParOf" srcId="{5F2C388F-5252-459B-9ED8-ECF094264561}" destId="{FD3EFE77-43C4-4887-849C-E0CDABC72129}" srcOrd="6" destOrd="0" presId="urn:microsoft.com/office/officeart/2005/8/layout/cycle2"/>
    <dgm:cxn modelId="{9D6BF530-D59A-4D26-8BD6-A3996A992EF1}" type="presParOf" srcId="{5F2C388F-5252-459B-9ED8-ECF094264561}" destId="{E9229A70-123C-47E1-B65A-32B34DF751B2}" srcOrd="7" destOrd="0" presId="urn:microsoft.com/office/officeart/2005/8/layout/cycle2"/>
    <dgm:cxn modelId="{10F748E3-B76B-42B2-867E-DBD6B7EADD17}" type="presParOf" srcId="{E9229A70-123C-47E1-B65A-32B34DF751B2}" destId="{038C5E11-F448-4994-9ACE-04DC62C44A53}" srcOrd="0" destOrd="0" presId="urn:microsoft.com/office/officeart/2005/8/layout/cycle2"/>
    <dgm:cxn modelId="{2D48A823-6112-4134-9331-E07B129FB4E0}" type="presParOf" srcId="{5F2C388F-5252-459B-9ED8-ECF094264561}" destId="{C8023C2F-F440-434C-ABF6-04C611148D95}" srcOrd="8" destOrd="0" presId="urn:microsoft.com/office/officeart/2005/8/layout/cycle2"/>
    <dgm:cxn modelId="{E88BF896-165D-4129-B6AA-1E97DA1BDEC0}" type="presParOf" srcId="{5F2C388F-5252-459B-9ED8-ECF094264561}" destId="{28782732-F035-4EB9-86F8-383576EFFDE3}" srcOrd="9" destOrd="0" presId="urn:microsoft.com/office/officeart/2005/8/layout/cycle2"/>
    <dgm:cxn modelId="{D5FB6311-D9A4-4977-BE39-E787EFF9B87C}" type="presParOf" srcId="{28782732-F035-4EB9-86F8-383576EFFDE3}" destId="{3176CAFE-2B0F-44EC-8D82-EC22836C0DE7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xmlns="" relId="rId15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1C75021C-F694-41A4-8F70-600A69D7C41B}" type="doc">
      <dgm:prSet loTypeId="urn:microsoft.com/office/officeart/2005/8/layout/radial1" loCatId="cycle" qsTypeId="urn:microsoft.com/office/officeart/2005/8/quickstyle/simple5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C5CE137A-DABD-4545-B67F-90753A69310B}">
      <dgm:prSet phldrT="[Текст]"/>
      <dgm:spPr/>
      <dgm:t>
        <a:bodyPr/>
        <a:lstStyle/>
        <a:p>
          <a:endParaRPr lang="ru-RU" dirty="0"/>
        </a:p>
      </dgm:t>
    </dgm:pt>
    <dgm:pt modelId="{A3B96ABD-53CB-46FD-8EF6-25F9A3B34350}" type="parTrans" cxnId="{0B76334B-6E18-429C-8BC8-40BAE0E16C4F}">
      <dgm:prSet/>
      <dgm:spPr/>
      <dgm:t>
        <a:bodyPr/>
        <a:lstStyle/>
        <a:p>
          <a:endParaRPr lang="ru-RU"/>
        </a:p>
      </dgm:t>
    </dgm:pt>
    <dgm:pt modelId="{7702D30D-9838-45EC-8339-2CEDD7DF99E1}" type="sibTrans" cxnId="{0B76334B-6E18-429C-8BC8-40BAE0E16C4F}">
      <dgm:prSet/>
      <dgm:spPr/>
      <dgm:t>
        <a:bodyPr/>
        <a:lstStyle/>
        <a:p>
          <a:endParaRPr lang="ru-RU"/>
        </a:p>
      </dgm:t>
    </dgm:pt>
    <dgm:pt modelId="{97F7EC41-B05B-463B-BA6B-270481F0E30F}">
      <dgm:prSet phldrT="[Текст]" custT="1"/>
      <dgm:spPr/>
      <dgm:t>
        <a:bodyPr/>
        <a:lstStyle/>
        <a:p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ПЕРЕПРОИЗВОДСТВО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dgm:t>
    </dgm:pt>
    <dgm:pt modelId="{29EA06E2-445E-48A2-AFEA-85368E718C4F}" type="parTrans" cxnId="{84FD668A-8D3A-4372-AED9-CDE22E03F650}">
      <dgm:prSet/>
      <dgm:spPr/>
      <dgm:t>
        <a:bodyPr/>
        <a:lstStyle/>
        <a:p>
          <a:endParaRPr lang="ru-RU"/>
        </a:p>
      </dgm:t>
    </dgm:pt>
    <dgm:pt modelId="{0BAF045A-D329-44AA-85F2-FD7EB2C748D4}" type="sibTrans" cxnId="{84FD668A-8D3A-4372-AED9-CDE22E03F650}">
      <dgm:prSet/>
      <dgm:spPr/>
      <dgm:t>
        <a:bodyPr/>
        <a:lstStyle/>
        <a:p>
          <a:endParaRPr lang="ru-RU"/>
        </a:p>
      </dgm:t>
    </dgm:pt>
    <dgm:pt modelId="{DAEEB6A3-ABB0-4B01-81DF-25D4CA646B1F}">
      <dgm:prSet phldrT="[Текст]" custT="1"/>
      <dgm:spPr/>
      <dgm:t>
        <a:bodyPr/>
        <a:lstStyle/>
        <a:p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ЛИШНИЕ ДВИЖЕНИЯ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dgm:t>
    </dgm:pt>
    <dgm:pt modelId="{0A1FEF8E-71E6-4767-B994-32302F5840F9}" type="parTrans" cxnId="{B9E81FB4-AC10-4459-A74E-FC7C4B1BFA74}">
      <dgm:prSet/>
      <dgm:spPr/>
      <dgm:t>
        <a:bodyPr/>
        <a:lstStyle/>
        <a:p>
          <a:endParaRPr lang="ru-RU"/>
        </a:p>
      </dgm:t>
    </dgm:pt>
    <dgm:pt modelId="{0D158F0A-D963-44BC-81C4-3700356176F4}" type="sibTrans" cxnId="{B9E81FB4-AC10-4459-A74E-FC7C4B1BFA74}">
      <dgm:prSet/>
      <dgm:spPr/>
      <dgm:t>
        <a:bodyPr/>
        <a:lstStyle/>
        <a:p>
          <a:endParaRPr lang="ru-RU"/>
        </a:p>
      </dgm:t>
    </dgm:pt>
    <dgm:pt modelId="{97CAC52D-EF31-450D-9373-D2CF70536CB5}">
      <dgm:prSet phldrT="[Текст]" custT="1"/>
      <dgm:spPr/>
      <dgm:t>
        <a:bodyPr/>
        <a:lstStyle/>
        <a:p>
          <a:r>
            <a:rPr lang="ru-RU" sz="900" dirty="0" smtClean="0">
              <a:latin typeface="Times New Roman" pitchFamily="18" charset="0"/>
              <a:cs typeface="Times New Roman" pitchFamily="18" charset="0"/>
            </a:rPr>
            <a:t>НЕНУЖНАЯ ТРАНСПОРТИРОВКА</a:t>
          </a:r>
          <a:endParaRPr lang="ru-RU" sz="900" dirty="0">
            <a:latin typeface="Times New Roman" pitchFamily="18" charset="0"/>
            <a:cs typeface="Times New Roman" pitchFamily="18" charset="0"/>
          </a:endParaRPr>
        </a:p>
      </dgm:t>
    </dgm:pt>
    <dgm:pt modelId="{2F52B3F2-77F2-4058-982E-4B691AE7D3A8}" type="parTrans" cxnId="{37E84595-B7E8-4431-AFFD-97CCD8E633F3}">
      <dgm:prSet/>
      <dgm:spPr/>
      <dgm:t>
        <a:bodyPr/>
        <a:lstStyle/>
        <a:p>
          <a:endParaRPr lang="ru-RU"/>
        </a:p>
      </dgm:t>
    </dgm:pt>
    <dgm:pt modelId="{EAF51205-3C2B-42F0-BFDF-BA194202C2E3}" type="sibTrans" cxnId="{37E84595-B7E8-4431-AFFD-97CCD8E633F3}">
      <dgm:prSet/>
      <dgm:spPr/>
      <dgm:t>
        <a:bodyPr/>
        <a:lstStyle/>
        <a:p>
          <a:endParaRPr lang="ru-RU"/>
        </a:p>
      </dgm:t>
    </dgm:pt>
    <dgm:pt modelId="{109D43FD-9011-44CE-AAC5-B082EDA86A11}">
      <dgm:prSet phldrT="[Текст]" custT="1"/>
      <dgm:spPr/>
      <dgm:t>
        <a:bodyPr/>
        <a:lstStyle/>
        <a:p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ОЖИДАНИЕ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dgm:t>
    </dgm:pt>
    <dgm:pt modelId="{FFA254CB-AF3B-4543-83BB-BA642233FA62}" type="parTrans" cxnId="{37299E7B-20FE-47B7-B5BD-3088162AA04D}">
      <dgm:prSet/>
      <dgm:spPr/>
      <dgm:t>
        <a:bodyPr/>
        <a:lstStyle/>
        <a:p>
          <a:endParaRPr lang="ru-RU"/>
        </a:p>
      </dgm:t>
    </dgm:pt>
    <dgm:pt modelId="{137863C4-E2E6-4DD8-A0F1-CE2F8E8CB639}" type="sibTrans" cxnId="{37299E7B-20FE-47B7-B5BD-3088162AA04D}">
      <dgm:prSet/>
      <dgm:spPr/>
      <dgm:t>
        <a:bodyPr/>
        <a:lstStyle/>
        <a:p>
          <a:endParaRPr lang="ru-RU"/>
        </a:p>
      </dgm:t>
    </dgm:pt>
    <dgm:pt modelId="{B0D4B067-C08B-4785-8420-F67A8498BF15}">
      <dgm:prSet phldrT="[Текст]" custT="1"/>
      <dgm:spPr/>
      <dgm:t>
        <a:bodyPr/>
        <a:lstStyle/>
        <a:p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ИЗЛИШНИЕ ЗАПАСЫ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dgm:t>
    </dgm:pt>
    <dgm:pt modelId="{2D8EFF87-704F-4AD7-BADB-6131C944EE00}" type="parTrans" cxnId="{2D3B0395-8F52-4BE2-8435-1D2C384C7014}">
      <dgm:prSet/>
      <dgm:spPr/>
      <dgm:t>
        <a:bodyPr/>
        <a:lstStyle/>
        <a:p>
          <a:endParaRPr lang="ru-RU"/>
        </a:p>
      </dgm:t>
    </dgm:pt>
    <dgm:pt modelId="{45043520-A344-4912-AC02-5560583F48A9}" type="sibTrans" cxnId="{2D3B0395-8F52-4BE2-8435-1D2C384C7014}">
      <dgm:prSet/>
      <dgm:spPr/>
      <dgm:t>
        <a:bodyPr/>
        <a:lstStyle/>
        <a:p>
          <a:endParaRPr lang="ru-RU"/>
        </a:p>
      </dgm:t>
    </dgm:pt>
    <dgm:pt modelId="{8F0D5F67-2A8C-48A7-A70C-5C91BD2AE360}">
      <dgm:prSet phldrT="[Текст]" custT="1"/>
      <dgm:spPr/>
      <dgm:t>
        <a:bodyPr/>
        <a:lstStyle/>
        <a:p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ИЗБЫТОЧНАЯ</a:t>
          </a:r>
          <a:r>
            <a:rPr lang="ru-RU" sz="500" dirty="0" smtClean="0"/>
            <a:t>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ОБРАБОТКА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dgm:t>
    </dgm:pt>
    <dgm:pt modelId="{959F6B6C-8A85-45B9-BB03-5723BA165E6D}" type="parTrans" cxnId="{38040A82-F7BA-4E14-879A-40F825DEEB17}">
      <dgm:prSet/>
      <dgm:spPr/>
      <dgm:t>
        <a:bodyPr/>
        <a:lstStyle/>
        <a:p>
          <a:endParaRPr lang="ru-RU"/>
        </a:p>
      </dgm:t>
    </dgm:pt>
    <dgm:pt modelId="{3B0A1AD9-5429-4415-85B8-53481F55C128}" type="sibTrans" cxnId="{38040A82-F7BA-4E14-879A-40F825DEEB17}">
      <dgm:prSet/>
      <dgm:spPr/>
      <dgm:t>
        <a:bodyPr/>
        <a:lstStyle/>
        <a:p>
          <a:endParaRPr lang="ru-RU"/>
        </a:p>
      </dgm:t>
    </dgm:pt>
    <dgm:pt modelId="{ADEDD67E-8448-4B5C-AE2A-1CF81562C82D}">
      <dgm:prSet phldrT="[Текст]" custT="1"/>
      <dgm:spPr/>
      <dgm:t>
        <a:bodyPr/>
        <a:lstStyle/>
        <a:p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ПЕРЕДЕЛКА, БРАК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dgm:t>
    </dgm:pt>
    <dgm:pt modelId="{3B696ADA-634E-470D-8EB1-140C9C1A249F}" type="parTrans" cxnId="{D7FAFA2F-A041-44E5-9EAC-7A7D29FB2D68}">
      <dgm:prSet/>
      <dgm:spPr/>
      <dgm:t>
        <a:bodyPr/>
        <a:lstStyle/>
        <a:p>
          <a:endParaRPr lang="ru-RU"/>
        </a:p>
      </dgm:t>
    </dgm:pt>
    <dgm:pt modelId="{B56D6164-E0D9-430E-A6B4-FC422435BCE0}" type="sibTrans" cxnId="{D7FAFA2F-A041-44E5-9EAC-7A7D29FB2D68}">
      <dgm:prSet/>
      <dgm:spPr/>
      <dgm:t>
        <a:bodyPr/>
        <a:lstStyle/>
        <a:p>
          <a:endParaRPr lang="ru-RU"/>
        </a:p>
      </dgm:t>
    </dgm:pt>
    <dgm:pt modelId="{10860D45-A219-4C5A-9DAC-93CE43980F6B}" type="pres">
      <dgm:prSet presAssocID="{1C75021C-F694-41A4-8F70-600A69D7C41B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E877EED-B3E0-4057-A1EE-BAD9F5A7B957}" type="pres">
      <dgm:prSet presAssocID="{C5CE137A-DABD-4545-B67F-90753A69310B}" presName="centerShape" presStyleLbl="node0" presStyleIdx="0" presStyleCnt="1" custLinFactNeighborX="344" custLinFactNeighborY="5674"/>
      <dgm:spPr/>
      <dgm:t>
        <a:bodyPr/>
        <a:lstStyle/>
        <a:p>
          <a:endParaRPr lang="ru-RU"/>
        </a:p>
      </dgm:t>
    </dgm:pt>
    <dgm:pt modelId="{B62807E7-856E-4FA7-95A7-E3C376569144}" type="pres">
      <dgm:prSet presAssocID="{29EA06E2-445E-48A2-AFEA-85368E718C4F}" presName="Name9" presStyleLbl="parChTrans1D2" presStyleIdx="0" presStyleCnt="7"/>
      <dgm:spPr/>
      <dgm:t>
        <a:bodyPr/>
        <a:lstStyle/>
        <a:p>
          <a:endParaRPr lang="ru-RU"/>
        </a:p>
      </dgm:t>
    </dgm:pt>
    <dgm:pt modelId="{2C8F2C5E-5CBD-45AF-A6A0-05EAFCD6A70D}" type="pres">
      <dgm:prSet presAssocID="{29EA06E2-445E-48A2-AFEA-85368E718C4F}" presName="connTx" presStyleLbl="parChTrans1D2" presStyleIdx="0" presStyleCnt="7"/>
      <dgm:spPr/>
      <dgm:t>
        <a:bodyPr/>
        <a:lstStyle/>
        <a:p>
          <a:endParaRPr lang="ru-RU"/>
        </a:p>
      </dgm:t>
    </dgm:pt>
    <dgm:pt modelId="{26B57186-937C-4E27-B545-48339A3FD935}" type="pres">
      <dgm:prSet presAssocID="{97F7EC41-B05B-463B-BA6B-270481F0E30F}" presName="node" presStyleLbl="node1" presStyleIdx="0" presStyleCnt="7" custScaleX="102787" custScaleY="90711" custRadScaleRad="70640" custRadScaleInc="-2784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2098D18-BCD3-4421-BA5C-7B6D31E3F6E3}" type="pres">
      <dgm:prSet presAssocID="{0A1FEF8E-71E6-4767-B994-32302F5840F9}" presName="Name9" presStyleLbl="parChTrans1D2" presStyleIdx="1" presStyleCnt="7"/>
      <dgm:spPr/>
      <dgm:t>
        <a:bodyPr/>
        <a:lstStyle/>
        <a:p>
          <a:endParaRPr lang="ru-RU"/>
        </a:p>
      </dgm:t>
    </dgm:pt>
    <dgm:pt modelId="{96F27524-9BD5-419B-B461-49E56C1961C0}" type="pres">
      <dgm:prSet presAssocID="{0A1FEF8E-71E6-4767-B994-32302F5840F9}" presName="connTx" presStyleLbl="parChTrans1D2" presStyleIdx="1" presStyleCnt="7"/>
      <dgm:spPr/>
      <dgm:t>
        <a:bodyPr/>
        <a:lstStyle/>
        <a:p>
          <a:endParaRPr lang="ru-RU"/>
        </a:p>
      </dgm:t>
    </dgm:pt>
    <dgm:pt modelId="{C68210B2-EDD5-487D-B3C9-9C2757056786}" type="pres">
      <dgm:prSet presAssocID="{DAEEB6A3-ABB0-4B01-81DF-25D4CA646B1F}" presName="node" presStyleLbl="node1" presStyleIdx="1" presStyleCnt="7" custScaleX="119221" custScaleY="101287" custRadScaleRad="81872" custRadScaleInc="-3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ECB6A1-4B83-498B-88E0-AEDD4CADAE26}" type="pres">
      <dgm:prSet presAssocID="{2F52B3F2-77F2-4058-982E-4B691AE7D3A8}" presName="Name9" presStyleLbl="parChTrans1D2" presStyleIdx="2" presStyleCnt="7"/>
      <dgm:spPr/>
      <dgm:t>
        <a:bodyPr/>
        <a:lstStyle/>
        <a:p>
          <a:endParaRPr lang="ru-RU"/>
        </a:p>
      </dgm:t>
    </dgm:pt>
    <dgm:pt modelId="{18182AEC-2F05-482C-9B42-F6FFCF8F9A82}" type="pres">
      <dgm:prSet presAssocID="{2F52B3F2-77F2-4058-982E-4B691AE7D3A8}" presName="connTx" presStyleLbl="parChTrans1D2" presStyleIdx="2" presStyleCnt="7"/>
      <dgm:spPr/>
      <dgm:t>
        <a:bodyPr/>
        <a:lstStyle/>
        <a:p>
          <a:endParaRPr lang="ru-RU"/>
        </a:p>
      </dgm:t>
    </dgm:pt>
    <dgm:pt modelId="{6F06B028-8CA0-4DBF-BFF2-47770B794E40}" type="pres">
      <dgm:prSet presAssocID="{97CAC52D-EF31-450D-9373-D2CF70536CB5}" presName="node" presStyleLbl="node1" presStyleIdx="2" presStyleCnt="7" custScaleX="127018" custScaleY="88376" custRadScaleRad="91064" custRadScaleInc="-201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E4A5776-6681-4B63-869A-782477A6CA44}" type="pres">
      <dgm:prSet presAssocID="{2D8EFF87-704F-4AD7-BADB-6131C944EE00}" presName="Name9" presStyleLbl="parChTrans1D2" presStyleIdx="3" presStyleCnt="7"/>
      <dgm:spPr/>
      <dgm:t>
        <a:bodyPr/>
        <a:lstStyle/>
        <a:p>
          <a:endParaRPr lang="ru-RU"/>
        </a:p>
      </dgm:t>
    </dgm:pt>
    <dgm:pt modelId="{5779A03A-7CF2-46FB-81AD-2BF3A1807946}" type="pres">
      <dgm:prSet presAssocID="{2D8EFF87-704F-4AD7-BADB-6131C944EE00}" presName="connTx" presStyleLbl="parChTrans1D2" presStyleIdx="3" presStyleCnt="7"/>
      <dgm:spPr/>
      <dgm:t>
        <a:bodyPr/>
        <a:lstStyle/>
        <a:p>
          <a:endParaRPr lang="ru-RU"/>
        </a:p>
      </dgm:t>
    </dgm:pt>
    <dgm:pt modelId="{87548BD7-96FA-481B-9A11-3D9A383E1E22}" type="pres">
      <dgm:prSet presAssocID="{B0D4B067-C08B-4785-8420-F67A8498BF15}" presName="node" presStyleLbl="node1" presStyleIdx="3" presStyleCnt="7" custScaleX="109207" custScaleY="99238" custRadScaleRad="91242" custRadScaleInc="-5224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1555797-2B28-4B5F-B7FB-A3A0F09AA743}" type="pres">
      <dgm:prSet presAssocID="{959F6B6C-8A85-45B9-BB03-5723BA165E6D}" presName="Name9" presStyleLbl="parChTrans1D2" presStyleIdx="4" presStyleCnt="7"/>
      <dgm:spPr/>
      <dgm:t>
        <a:bodyPr/>
        <a:lstStyle/>
        <a:p>
          <a:endParaRPr lang="ru-RU"/>
        </a:p>
      </dgm:t>
    </dgm:pt>
    <dgm:pt modelId="{F7E9904C-BA22-4A8F-9EF0-CF2D646786CF}" type="pres">
      <dgm:prSet presAssocID="{959F6B6C-8A85-45B9-BB03-5723BA165E6D}" presName="connTx" presStyleLbl="parChTrans1D2" presStyleIdx="4" presStyleCnt="7"/>
      <dgm:spPr/>
      <dgm:t>
        <a:bodyPr/>
        <a:lstStyle/>
        <a:p>
          <a:endParaRPr lang="ru-RU"/>
        </a:p>
      </dgm:t>
    </dgm:pt>
    <dgm:pt modelId="{79E942B3-2C0B-4DE1-BCA6-E225FEE59E11}" type="pres">
      <dgm:prSet presAssocID="{8F0D5F67-2A8C-48A7-A70C-5C91BD2AE360}" presName="node" presStyleLbl="node1" presStyleIdx="4" presStyleCnt="7" custScaleX="134672" custScaleY="97902" custRadScaleRad="83801" custRadScaleInc="-1881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CD403F-A8A8-4B92-85FF-7E91A1632CC9}" type="pres">
      <dgm:prSet presAssocID="{FFA254CB-AF3B-4543-83BB-BA642233FA62}" presName="Name9" presStyleLbl="parChTrans1D2" presStyleIdx="5" presStyleCnt="7"/>
      <dgm:spPr/>
      <dgm:t>
        <a:bodyPr/>
        <a:lstStyle/>
        <a:p>
          <a:endParaRPr lang="ru-RU"/>
        </a:p>
      </dgm:t>
    </dgm:pt>
    <dgm:pt modelId="{707BF1AB-2639-4EC7-BD63-67A1AF74B797}" type="pres">
      <dgm:prSet presAssocID="{FFA254CB-AF3B-4543-83BB-BA642233FA62}" presName="connTx" presStyleLbl="parChTrans1D2" presStyleIdx="5" presStyleCnt="7"/>
      <dgm:spPr/>
      <dgm:t>
        <a:bodyPr/>
        <a:lstStyle/>
        <a:p>
          <a:endParaRPr lang="ru-RU"/>
        </a:p>
      </dgm:t>
    </dgm:pt>
    <dgm:pt modelId="{0B125BCC-3AEF-45C2-9E2A-28DA0075BC73}" type="pres">
      <dgm:prSet presAssocID="{109D43FD-9011-44CE-AAC5-B082EDA86A11}" presName="node" presStyleLbl="node1" presStyleIdx="5" presStyleCnt="7" custScaleX="107916" custRadScaleRad="87173" custRadScaleInc="1184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33C54CA-6688-4C0D-A599-E823666182B3}" type="pres">
      <dgm:prSet presAssocID="{3B696ADA-634E-470D-8EB1-140C9C1A249F}" presName="Name9" presStyleLbl="parChTrans1D2" presStyleIdx="6" presStyleCnt="7"/>
      <dgm:spPr/>
      <dgm:t>
        <a:bodyPr/>
        <a:lstStyle/>
        <a:p>
          <a:endParaRPr lang="ru-RU"/>
        </a:p>
      </dgm:t>
    </dgm:pt>
    <dgm:pt modelId="{6E550009-0307-4F7F-B7B6-8853CBD59214}" type="pres">
      <dgm:prSet presAssocID="{3B696ADA-634E-470D-8EB1-140C9C1A249F}" presName="connTx" presStyleLbl="parChTrans1D2" presStyleIdx="6" presStyleCnt="7"/>
      <dgm:spPr/>
      <dgm:t>
        <a:bodyPr/>
        <a:lstStyle/>
        <a:p>
          <a:endParaRPr lang="ru-RU"/>
        </a:p>
      </dgm:t>
    </dgm:pt>
    <dgm:pt modelId="{0AFECC6A-4356-4349-A30D-D6E7F87E48DC}" type="pres">
      <dgm:prSet presAssocID="{ADEDD67E-8448-4B5C-AE2A-1CF81562C82D}" presName="node" presStyleLbl="node1" presStyleIdx="6" presStyleCnt="7" custScaleX="107500" custScaleY="99541" custRadScaleRad="97287" custRadScaleInc="-1603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7FAFA2F-A041-44E5-9EAC-7A7D29FB2D68}" srcId="{C5CE137A-DABD-4545-B67F-90753A69310B}" destId="{ADEDD67E-8448-4B5C-AE2A-1CF81562C82D}" srcOrd="6" destOrd="0" parTransId="{3B696ADA-634E-470D-8EB1-140C9C1A249F}" sibTransId="{B56D6164-E0D9-430E-A6B4-FC422435BCE0}"/>
    <dgm:cxn modelId="{EC3B7FED-4759-46EA-B7FA-4B5AAD1C171E}" type="presOf" srcId="{ADEDD67E-8448-4B5C-AE2A-1CF81562C82D}" destId="{0AFECC6A-4356-4349-A30D-D6E7F87E48DC}" srcOrd="0" destOrd="0" presId="urn:microsoft.com/office/officeart/2005/8/layout/radial1"/>
    <dgm:cxn modelId="{0B76334B-6E18-429C-8BC8-40BAE0E16C4F}" srcId="{1C75021C-F694-41A4-8F70-600A69D7C41B}" destId="{C5CE137A-DABD-4545-B67F-90753A69310B}" srcOrd="0" destOrd="0" parTransId="{A3B96ABD-53CB-46FD-8EF6-25F9A3B34350}" sibTransId="{7702D30D-9838-45EC-8339-2CEDD7DF99E1}"/>
    <dgm:cxn modelId="{674E56B2-2E66-4144-986F-BD3D96E4CDA1}" type="presOf" srcId="{C5CE137A-DABD-4545-B67F-90753A69310B}" destId="{8E877EED-B3E0-4057-A1EE-BAD9F5A7B957}" srcOrd="0" destOrd="0" presId="urn:microsoft.com/office/officeart/2005/8/layout/radial1"/>
    <dgm:cxn modelId="{93E2732E-9CE9-4758-9F71-CDE20BA4B965}" type="presOf" srcId="{8F0D5F67-2A8C-48A7-A70C-5C91BD2AE360}" destId="{79E942B3-2C0B-4DE1-BCA6-E225FEE59E11}" srcOrd="0" destOrd="0" presId="urn:microsoft.com/office/officeart/2005/8/layout/radial1"/>
    <dgm:cxn modelId="{B9E81FB4-AC10-4459-A74E-FC7C4B1BFA74}" srcId="{C5CE137A-DABD-4545-B67F-90753A69310B}" destId="{DAEEB6A3-ABB0-4B01-81DF-25D4CA646B1F}" srcOrd="1" destOrd="0" parTransId="{0A1FEF8E-71E6-4767-B994-32302F5840F9}" sibTransId="{0D158F0A-D963-44BC-81C4-3700356176F4}"/>
    <dgm:cxn modelId="{C0F3C92B-7169-42C5-9ED7-80987365AD0B}" type="presOf" srcId="{97F7EC41-B05B-463B-BA6B-270481F0E30F}" destId="{26B57186-937C-4E27-B545-48339A3FD935}" srcOrd="0" destOrd="0" presId="urn:microsoft.com/office/officeart/2005/8/layout/radial1"/>
    <dgm:cxn modelId="{37299E7B-20FE-47B7-B5BD-3088162AA04D}" srcId="{C5CE137A-DABD-4545-B67F-90753A69310B}" destId="{109D43FD-9011-44CE-AAC5-B082EDA86A11}" srcOrd="5" destOrd="0" parTransId="{FFA254CB-AF3B-4543-83BB-BA642233FA62}" sibTransId="{137863C4-E2E6-4DD8-A0F1-CE2F8E8CB639}"/>
    <dgm:cxn modelId="{2D3B0395-8F52-4BE2-8435-1D2C384C7014}" srcId="{C5CE137A-DABD-4545-B67F-90753A69310B}" destId="{B0D4B067-C08B-4785-8420-F67A8498BF15}" srcOrd="3" destOrd="0" parTransId="{2D8EFF87-704F-4AD7-BADB-6131C944EE00}" sibTransId="{45043520-A344-4912-AC02-5560583F48A9}"/>
    <dgm:cxn modelId="{845D1BFC-CD3C-4B15-921D-A5C1AE1A4ECF}" type="presOf" srcId="{3B696ADA-634E-470D-8EB1-140C9C1A249F}" destId="{6E550009-0307-4F7F-B7B6-8853CBD59214}" srcOrd="1" destOrd="0" presId="urn:microsoft.com/office/officeart/2005/8/layout/radial1"/>
    <dgm:cxn modelId="{F2AE1399-1A60-460E-B442-7C013FCE2E52}" type="presOf" srcId="{2D8EFF87-704F-4AD7-BADB-6131C944EE00}" destId="{FE4A5776-6681-4B63-869A-782477A6CA44}" srcOrd="0" destOrd="0" presId="urn:microsoft.com/office/officeart/2005/8/layout/radial1"/>
    <dgm:cxn modelId="{329980EA-8597-467D-BDC0-D7C1FD90A31A}" type="presOf" srcId="{97CAC52D-EF31-450D-9373-D2CF70536CB5}" destId="{6F06B028-8CA0-4DBF-BFF2-47770B794E40}" srcOrd="0" destOrd="0" presId="urn:microsoft.com/office/officeart/2005/8/layout/radial1"/>
    <dgm:cxn modelId="{B20FCD5E-33E2-4DE8-9B23-32698BE5A3A0}" type="presOf" srcId="{B0D4B067-C08B-4785-8420-F67A8498BF15}" destId="{87548BD7-96FA-481B-9A11-3D9A383E1E22}" srcOrd="0" destOrd="0" presId="urn:microsoft.com/office/officeart/2005/8/layout/radial1"/>
    <dgm:cxn modelId="{7DB0D659-36D3-4B34-B8A2-EE5040EE4C4A}" type="presOf" srcId="{959F6B6C-8A85-45B9-BB03-5723BA165E6D}" destId="{F7E9904C-BA22-4A8F-9EF0-CF2D646786CF}" srcOrd="1" destOrd="0" presId="urn:microsoft.com/office/officeart/2005/8/layout/radial1"/>
    <dgm:cxn modelId="{37E84595-B7E8-4431-AFFD-97CCD8E633F3}" srcId="{C5CE137A-DABD-4545-B67F-90753A69310B}" destId="{97CAC52D-EF31-450D-9373-D2CF70536CB5}" srcOrd="2" destOrd="0" parTransId="{2F52B3F2-77F2-4058-982E-4B691AE7D3A8}" sibTransId="{EAF51205-3C2B-42F0-BFDF-BA194202C2E3}"/>
    <dgm:cxn modelId="{D34843CC-24D2-4CDB-B6E3-BB26E6C96A26}" type="presOf" srcId="{2D8EFF87-704F-4AD7-BADB-6131C944EE00}" destId="{5779A03A-7CF2-46FB-81AD-2BF3A1807946}" srcOrd="1" destOrd="0" presId="urn:microsoft.com/office/officeart/2005/8/layout/radial1"/>
    <dgm:cxn modelId="{84FD668A-8D3A-4372-AED9-CDE22E03F650}" srcId="{C5CE137A-DABD-4545-B67F-90753A69310B}" destId="{97F7EC41-B05B-463B-BA6B-270481F0E30F}" srcOrd="0" destOrd="0" parTransId="{29EA06E2-445E-48A2-AFEA-85368E718C4F}" sibTransId="{0BAF045A-D329-44AA-85F2-FD7EB2C748D4}"/>
    <dgm:cxn modelId="{1A8B40B2-0771-4939-938E-6F6655BDD8E0}" type="presOf" srcId="{FFA254CB-AF3B-4543-83BB-BA642233FA62}" destId="{EBCD403F-A8A8-4B92-85FF-7E91A1632CC9}" srcOrd="0" destOrd="0" presId="urn:microsoft.com/office/officeart/2005/8/layout/radial1"/>
    <dgm:cxn modelId="{C9371888-79F5-4BDC-B553-B3F920A27E6C}" type="presOf" srcId="{109D43FD-9011-44CE-AAC5-B082EDA86A11}" destId="{0B125BCC-3AEF-45C2-9E2A-28DA0075BC73}" srcOrd="0" destOrd="0" presId="urn:microsoft.com/office/officeart/2005/8/layout/radial1"/>
    <dgm:cxn modelId="{E0174E88-0FE9-49C0-B33C-2C8D6F43BCE6}" type="presOf" srcId="{0A1FEF8E-71E6-4767-B994-32302F5840F9}" destId="{96F27524-9BD5-419B-B461-49E56C1961C0}" srcOrd="1" destOrd="0" presId="urn:microsoft.com/office/officeart/2005/8/layout/radial1"/>
    <dgm:cxn modelId="{ABE9EC5D-94C6-44F8-8FC8-818597AF97A4}" type="presOf" srcId="{3B696ADA-634E-470D-8EB1-140C9C1A249F}" destId="{C33C54CA-6688-4C0D-A599-E823666182B3}" srcOrd="0" destOrd="0" presId="urn:microsoft.com/office/officeart/2005/8/layout/radial1"/>
    <dgm:cxn modelId="{5883798A-0546-461D-8591-25FA6ADAA75B}" type="presOf" srcId="{29EA06E2-445E-48A2-AFEA-85368E718C4F}" destId="{2C8F2C5E-5CBD-45AF-A6A0-05EAFCD6A70D}" srcOrd="1" destOrd="0" presId="urn:microsoft.com/office/officeart/2005/8/layout/radial1"/>
    <dgm:cxn modelId="{3BFBDC92-6D3D-48C1-B50A-2F063785CA54}" type="presOf" srcId="{2F52B3F2-77F2-4058-982E-4B691AE7D3A8}" destId="{18182AEC-2F05-482C-9B42-F6FFCF8F9A82}" srcOrd="1" destOrd="0" presId="urn:microsoft.com/office/officeart/2005/8/layout/radial1"/>
    <dgm:cxn modelId="{41F7A9C9-A1F1-463C-AEF0-D850997205B1}" type="presOf" srcId="{29EA06E2-445E-48A2-AFEA-85368E718C4F}" destId="{B62807E7-856E-4FA7-95A7-E3C376569144}" srcOrd="0" destOrd="0" presId="urn:microsoft.com/office/officeart/2005/8/layout/radial1"/>
    <dgm:cxn modelId="{B3439DBE-119A-4D30-A2DD-25CE28053618}" type="presOf" srcId="{2F52B3F2-77F2-4058-982E-4B691AE7D3A8}" destId="{07ECB6A1-4B83-498B-88E0-AEDD4CADAE26}" srcOrd="0" destOrd="0" presId="urn:microsoft.com/office/officeart/2005/8/layout/radial1"/>
    <dgm:cxn modelId="{6FA474E4-D69E-41A5-93D6-8DDE4EFB6150}" type="presOf" srcId="{0A1FEF8E-71E6-4767-B994-32302F5840F9}" destId="{22098D18-BCD3-4421-BA5C-7B6D31E3F6E3}" srcOrd="0" destOrd="0" presId="urn:microsoft.com/office/officeart/2005/8/layout/radial1"/>
    <dgm:cxn modelId="{AB33FAE9-7BE7-4C30-B677-11EE1EB4DDDD}" type="presOf" srcId="{DAEEB6A3-ABB0-4B01-81DF-25D4CA646B1F}" destId="{C68210B2-EDD5-487D-B3C9-9C2757056786}" srcOrd="0" destOrd="0" presId="urn:microsoft.com/office/officeart/2005/8/layout/radial1"/>
    <dgm:cxn modelId="{38040A82-F7BA-4E14-879A-40F825DEEB17}" srcId="{C5CE137A-DABD-4545-B67F-90753A69310B}" destId="{8F0D5F67-2A8C-48A7-A70C-5C91BD2AE360}" srcOrd="4" destOrd="0" parTransId="{959F6B6C-8A85-45B9-BB03-5723BA165E6D}" sibTransId="{3B0A1AD9-5429-4415-85B8-53481F55C128}"/>
    <dgm:cxn modelId="{D1C2E62C-15A8-494F-8D23-09F5861E4E61}" type="presOf" srcId="{FFA254CB-AF3B-4543-83BB-BA642233FA62}" destId="{707BF1AB-2639-4EC7-BD63-67A1AF74B797}" srcOrd="1" destOrd="0" presId="urn:microsoft.com/office/officeart/2005/8/layout/radial1"/>
    <dgm:cxn modelId="{7871AE9F-2AB1-48AD-B3AD-9381B5A1BE7D}" type="presOf" srcId="{959F6B6C-8A85-45B9-BB03-5723BA165E6D}" destId="{91555797-2B28-4B5F-B7FB-A3A0F09AA743}" srcOrd="0" destOrd="0" presId="urn:microsoft.com/office/officeart/2005/8/layout/radial1"/>
    <dgm:cxn modelId="{C9D1BC7A-FB39-47F8-8BA1-D5385DBBAED9}" type="presOf" srcId="{1C75021C-F694-41A4-8F70-600A69D7C41B}" destId="{10860D45-A219-4C5A-9DAC-93CE43980F6B}" srcOrd="0" destOrd="0" presId="urn:microsoft.com/office/officeart/2005/8/layout/radial1"/>
    <dgm:cxn modelId="{D7697E09-4802-4FF8-A0E5-85A6C00AB68B}" type="presParOf" srcId="{10860D45-A219-4C5A-9DAC-93CE43980F6B}" destId="{8E877EED-B3E0-4057-A1EE-BAD9F5A7B957}" srcOrd="0" destOrd="0" presId="urn:microsoft.com/office/officeart/2005/8/layout/radial1"/>
    <dgm:cxn modelId="{9DCB010F-62DD-4CD6-AA27-F9E72E48B5A2}" type="presParOf" srcId="{10860D45-A219-4C5A-9DAC-93CE43980F6B}" destId="{B62807E7-856E-4FA7-95A7-E3C376569144}" srcOrd="1" destOrd="0" presId="urn:microsoft.com/office/officeart/2005/8/layout/radial1"/>
    <dgm:cxn modelId="{7348DA4A-30AC-451A-B57B-D3072AD52B13}" type="presParOf" srcId="{B62807E7-856E-4FA7-95A7-E3C376569144}" destId="{2C8F2C5E-5CBD-45AF-A6A0-05EAFCD6A70D}" srcOrd="0" destOrd="0" presId="urn:microsoft.com/office/officeart/2005/8/layout/radial1"/>
    <dgm:cxn modelId="{D4BE2721-6684-4B3C-A7CE-F4E6F2817702}" type="presParOf" srcId="{10860D45-A219-4C5A-9DAC-93CE43980F6B}" destId="{26B57186-937C-4E27-B545-48339A3FD935}" srcOrd="2" destOrd="0" presId="urn:microsoft.com/office/officeart/2005/8/layout/radial1"/>
    <dgm:cxn modelId="{2235EFD2-FFC5-44B0-B214-33F4AF5A718F}" type="presParOf" srcId="{10860D45-A219-4C5A-9DAC-93CE43980F6B}" destId="{22098D18-BCD3-4421-BA5C-7B6D31E3F6E3}" srcOrd="3" destOrd="0" presId="urn:microsoft.com/office/officeart/2005/8/layout/radial1"/>
    <dgm:cxn modelId="{8A447502-275A-4B01-AF45-32E88E67096A}" type="presParOf" srcId="{22098D18-BCD3-4421-BA5C-7B6D31E3F6E3}" destId="{96F27524-9BD5-419B-B461-49E56C1961C0}" srcOrd="0" destOrd="0" presId="urn:microsoft.com/office/officeart/2005/8/layout/radial1"/>
    <dgm:cxn modelId="{F1AE87C5-5845-49F2-8A5A-98359297FB0A}" type="presParOf" srcId="{10860D45-A219-4C5A-9DAC-93CE43980F6B}" destId="{C68210B2-EDD5-487D-B3C9-9C2757056786}" srcOrd="4" destOrd="0" presId="urn:microsoft.com/office/officeart/2005/8/layout/radial1"/>
    <dgm:cxn modelId="{82BB2749-2014-4322-81DB-673E8D760EB9}" type="presParOf" srcId="{10860D45-A219-4C5A-9DAC-93CE43980F6B}" destId="{07ECB6A1-4B83-498B-88E0-AEDD4CADAE26}" srcOrd="5" destOrd="0" presId="urn:microsoft.com/office/officeart/2005/8/layout/radial1"/>
    <dgm:cxn modelId="{0690866E-9C4E-4A4B-8451-5FA0093D86D6}" type="presParOf" srcId="{07ECB6A1-4B83-498B-88E0-AEDD4CADAE26}" destId="{18182AEC-2F05-482C-9B42-F6FFCF8F9A82}" srcOrd="0" destOrd="0" presId="urn:microsoft.com/office/officeart/2005/8/layout/radial1"/>
    <dgm:cxn modelId="{A7617D89-7C83-4834-9CB3-5CA3F8FD0B70}" type="presParOf" srcId="{10860D45-A219-4C5A-9DAC-93CE43980F6B}" destId="{6F06B028-8CA0-4DBF-BFF2-47770B794E40}" srcOrd="6" destOrd="0" presId="urn:microsoft.com/office/officeart/2005/8/layout/radial1"/>
    <dgm:cxn modelId="{F6086113-CE3C-44D2-A3CB-B9E2388B14C7}" type="presParOf" srcId="{10860D45-A219-4C5A-9DAC-93CE43980F6B}" destId="{FE4A5776-6681-4B63-869A-782477A6CA44}" srcOrd="7" destOrd="0" presId="urn:microsoft.com/office/officeart/2005/8/layout/radial1"/>
    <dgm:cxn modelId="{A4720C58-107F-4293-A48C-356D6FCFD29C}" type="presParOf" srcId="{FE4A5776-6681-4B63-869A-782477A6CA44}" destId="{5779A03A-7CF2-46FB-81AD-2BF3A1807946}" srcOrd="0" destOrd="0" presId="urn:microsoft.com/office/officeart/2005/8/layout/radial1"/>
    <dgm:cxn modelId="{C2BA660D-D48E-4890-96D8-D4CC51EB590D}" type="presParOf" srcId="{10860D45-A219-4C5A-9DAC-93CE43980F6B}" destId="{87548BD7-96FA-481B-9A11-3D9A383E1E22}" srcOrd="8" destOrd="0" presId="urn:microsoft.com/office/officeart/2005/8/layout/radial1"/>
    <dgm:cxn modelId="{83C26E3E-2340-4CEA-B487-C0F33EBD6124}" type="presParOf" srcId="{10860D45-A219-4C5A-9DAC-93CE43980F6B}" destId="{91555797-2B28-4B5F-B7FB-A3A0F09AA743}" srcOrd="9" destOrd="0" presId="urn:microsoft.com/office/officeart/2005/8/layout/radial1"/>
    <dgm:cxn modelId="{AA6F5918-31E0-45AB-852E-371707937528}" type="presParOf" srcId="{91555797-2B28-4B5F-B7FB-A3A0F09AA743}" destId="{F7E9904C-BA22-4A8F-9EF0-CF2D646786CF}" srcOrd="0" destOrd="0" presId="urn:microsoft.com/office/officeart/2005/8/layout/radial1"/>
    <dgm:cxn modelId="{D23B0CAA-C8EC-48C6-9F96-3D0F27F0B1CB}" type="presParOf" srcId="{10860D45-A219-4C5A-9DAC-93CE43980F6B}" destId="{79E942B3-2C0B-4DE1-BCA6-E225FEE59E11}" srcOrd="10" destOrd="0" presId="urn:microsoft.com/office/officeart/2005/8/layout/radial1"/>
    <dgm:cxn modelId="{E2A99596-EAAB-43BF-804E-6B963EF4D89F}" type="presParOf" srcId="{10860D45-A219-4C5A-9DAC-93CE43980F6B}" destId="{EBCD403F-A8A8-4B92-85FF-7E91A1632CC9}" srcOrd="11" destOrd="0" presId="urn:microsoft.com/office/officeart/2005/8/layout/radial1"/>
    <dgm:cxn modelId="{0CABCC19-8E2B-45D3-BF56-07B745AB3B49}" type="presParOf" srcId="{EBCD403F-A8A8-4B92-85FF-7E91A1632CC9}" destId="{707BF1AB-2639-4EC7-BD63-67A1AF74B797}" srcOrd="0" destOrd="0" presId="urn:microsoft.com/office/officeart/2005/8/layout/radial1"/>
    <dgm:cxn modelId="{21F7CA15-BBCC-4658-96E9-07568F4C2B8D}" type="presParOf" srcId="{10860D45-A219-4C5A-9DAC-93CE43980F6B}" destId="{0B125BCC-3AEF-45C2-9E2A-28DA0075BC73}" srcOrd="12" destOrd="0" presId="urn:microsoft.com/office/officeart/2005/8/layout/radial1"/>
    <dgm:cxn modelId="{F35C4FFB-6BB7-4445-8B5E-9AD73AD3B3CE}" type="presParOf" srcId="{10860D45-A219-4C5A-9DAC-93CE43980F6B}" destId="{C33C54CA-6688-4C0D-A599-E823666182B3}" srcOrd="13" destOrd="0" presId="urn:microsoft.com/office/officeart/2005/8/layout/radial1"/>
    <dgm:cxn modelId="{7C69D1AF-FA09-433A-8998-FE562C807E4D}" type="presParOf" srcId="{C33C54CA-6688-4C0D-A599-E823666182B3}" destId="{6E550009-0307-4F7F-B7B6-8853CBD59214}" srcOrd="0" destOrd="0" presId="urn:microsoft.com/office/officeart/2005/8/layout/radial1"/>
    <dgm:cxn modelId="{07C13AA4-7F37-4711-92A7-E4A2CE3B5381}" type="presParOf" srcId="{10860D45-A219-4C5A-9DAC-93CE43980F6B}" destId="{0AFECC6A-4356-4349-A30D-D6E7F87E48DC}" srcOrd="14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xmlns="" relId="rId2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48A455-97C8-4807-B92D-19E8F7AE6F1A}">
      <dsp:nvSpPr>
        <dsp:cNvPr id="0" name=""/>
        <dsp:cNvSpPr/>
      </dsp:nvSpPr>
      <dsp:spPr>
        <a:xfrm>
          <a:off x="0" y="300713"/>
          <a:ext cx="6357981" cy="50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6116520-8D28-4016-A33F-D031E199805E}">
      <dsp:nvSpPr>
        <dsp:cNvPr id="0" name=""/>
        <dsp:cNvSpPr/>
      </dsp:nvSpPr>
      <dsp:spPr>
        <a:xfrm>
          <a:off x="317899" y="5513"/>
          <a:ext cx="4450587" cy="5904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8222" tIns="0" rIns="168222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>
              <a:latin typeface="Times New Roman" pitchFamily="18" charset="0"/>
              <a:cs typeface="Times New Roman" pitchFamily="18" charset="0"/>
            </a:rPr>
            <a:t>1.Базовый курс </a:t>
          </a:r>
          <a:endParaRPr lang="ru-RU" sz="2400" kern="1200" dirty="0"/>
        </a:p>
      </dsp:txBody>
      <dsp:txXfrm>
        <a:off x="346720" y="34334"/>
        <a:ext cx="4392945" cy="532758"/>
      </dsp:txXfrm>
    </dsp:sp>
    <dsp:sp modelId="{917F76E1-4E7A-4168-986D-7ED474114D94}">
      <dsp:nvSpPr>
        <dsp:cNvPr id="0" name=""/>
        <dsp:cNvSpPr/>
      </dsp:nvSpPr>
      <dsp:spPr>
        <a:xfrm>
          <a:off x="0" y="1207913"/>
          <a:ext cx="6357981" cy="50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134ADA2-F7D1-4C72-83C4-03B434948EEB}">
      <dsp:nvSpPr>
        <dsp:cNvPr id="0" name=""/>
        <dsp:cNvSpPr/>
      </dsp:nvSpPr>
      <dsp:spPr>
        <a:xfrm>
          <a:off x="317899" y="912713"/>
          <a:ext cx="4450587" cy="5904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8222" tIns="0" rIns="168222" bIns="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400" kern="1200" dirty="0" smtClean="0">
              <a:latin typeface="Times New Roman" pitchFamily="18" charset="0"/>
              <a:cs typeface="Times New Roman" pitchFamily="18" charset="0"/>
            </a:rPr>
            <a:t>Система 5С </a:t>
          </a:r>
        </a:p>
      </dsp:txBody>
      <dsp:txXfrm>
        <a:off x="346720" y="941534"/>
        <a:ext cx="4392945" cy="532758"/>
      </dsp:txXfrm>
    </dsp:sp>
    <dsp:sp modelId="{35414E26-96D2-40BB-8F51-3C9E35F6B014}">
      <dsp:nvSpPr>
        <dsp:cNvPr id="0" name=""/>
        <dsp:cNvSpPr/>
      </dsp:nvSpPr>
      <dsp:spPr>
        <a:xfrm>
          <a:off x="0" y="2108057"/>
          <a:ext cx="6357981" cy="50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C9CBAD4-8882-4ED4-B564-4521E20C2A66}">
      <dsp:nvSpPr>
        <dsp:cNvPr id="0" name=""/>
        <dsp:cNvSpPr/>
      </dsp:nvSpPr>
      <dsp:spPr>
        <a:xfrm>
          <a:off x="317899" y="1819913"/>
          <a:ext cx="4450587" cy="5904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8222" tIns="0" rIns="168222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>
              <a:latin typeface="Times New Roman" pitchFamily="18" charset="0"/>
              <a:cs typeface="Times New Roman" pitchFamily="18" charset="0"/>
            </a:rPr>
            <a:t>Виды потерь</a:t>
          </a:r>
        </a:p>
      </dsp:txBody>
      <dsp:txXfrm>
        <a:off x="346720" y="1848734"/>
        <a:ext cx="4392945" cy="532758"/>
      </dsp:txXfrm>
    </dsp:sp>
    <dsp:sp modelId="{4712E8A5-C1BA-4E5A-9BDC-5A61A06144A3}">
      <dsp:nvSpPr>
        <dsp:cNvPr id="0" name=""/>
        <dsp:cNvSpPr/>
      </dsp:nvSpPr>
      <dsp:spPr>
        <a:xfrm>
          <a:off x="0" y="3022313"/>
          <a:ext cx="6357981" cy="50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CDF7F4-EF61-4300-A085-0E7227DCEAFB}">
      <dsp:nvSpPr>
        <dsp:cNvPr id="0" name=""/>
        <dsp:cNvSpPr/>
      </dsp:nvSpPr>
      <dsp:spPr>
        <a:xfrm>
          <a:off x="317899" y="2727113"/>
          <a:ext cx="4450587" cy="5904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8222" tIns="0" rIns="168222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>
              <a:latin typeface="Times New Roman" pitchFamily="18" charset="0"/>
              <a:cs typeface="Times New Roman" pitchFamily="18" charset="0"/>
            </a:rPr>
            <a:t>2.Картирование процессов</a:t>
          </a:r>
        </a:p>
      </dsp:txBody>
      <dsp:txXfrm>
        <a:off x="346720" y="2755934"/>
        <a:ext cx="4392945" cy="532758"/>
      </dsp:txXfrm>
    </dsp:sp>
    <dsp:sp modelId="{CBECA357-2C6C-43B3-B3E1-F982CA3087C6}">
      <dsp:nvSpPr>
        <dsp:cNvPr id="0" name=""/>
        <dsp:cNvSpPr/>
      </dsp:nvSpPr>
      <dsp:spPr>
        <a:xfrm>
          <a:off x="0" y="4062518"/>
          <a:ext cx="6357981" cy="50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99801A3-48FC-4FD9-8859-68339E65B183}">
      <dsp:nvSpPr>
        <dsp:cNvPr id="0" name=""/>
        <dsp:cNvSpPr/>
      </dsp:nvSpPr>
      <dsp:spPr>
        <a:xfrm>
          <a:off x="317899" y="3634313"/>
          <a:ext cx="4450587" cy="723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8222" tIns="0" rIns="168222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>
              <a:latin typeface="Times New Roman" pitchFamily="18" charset="0"/>
              <a:cs typeface="Times New Roman" pitchFamily="18" charset="0"/>
            </a:rPr>
            <a:t>3.Методика реализации </a:t>
          </a:r>
          <a:r>
            <a:rPr lang="ru-RU" sz="2400" kern="1200" dirty="0" err="1" smtClean="0">
              <a:latin typeface="Times New Roman" pitchFamily="18" charset="0"/>
              <a:cs typeface="Times New Roman" pitchFamily="18" charset="0"/>
            </a:rPr>
            <a:t>ПСР-проектов</a:t>
          </a:r>
          <a:endParaRPr lang="ru-RU" sz="2400" kern="1200" dirty="0" smtClean="0">
            <a:latin typeface="Times New Roman" pitchFamily="18" charset="0"/>
            <a:cs typeface="Times New Roman" pitchFamily="18" charset="0"/>
          </a:endParaRPr>
        </a:p>
      </dsp:txBody>
      <dsp:txXfrm>
        <a:off x="353213" y="3669627"/>
        <a:ext cx="4379959" cy="65277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2A0C0E-7201-4E3A-B19F-6161875424A4}">
      <dsp:nvSpPr>
        <dsp:cNvPr id="0" name=""/>
        <dsp:cNvSpPr/>
      </dsp:nvSpPr>
      <dsp:spPr>
        <a:xfrm rot="5400000">
          <a:off x="-171629" y="191728"/>
          <a:ext cx="1144194" cy="80093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1</a:t>
          </a:r>
          <a:endParaRPr lang="ru-RU" sz="1700" kern="1200" dirty="0"/>
        </a:p>
      </dsp:txBody>
      <dsp:txXfrm rot="-5400000">
        <a:off x="1" y="420567"/>
        <a:ext cx="800935" cy="343259"/>
      </dsp:txXfrm>
    </dsp:sp>
    <dsp:sp modelId="{1DB5F4F8-5994-4E30-851F-1C748DE60247}">
      <dsp:nvSpPr>
        <dsp:cNvPr id="0" name=""/>
        <dsp:cNvSpPr/>
      </dsp:nvSpPr>
      <dsp:spPr>
        <a:xfrm rot="5400000">
          <a:off x="4430037" y="-3626248"/>
          <a:ext cx="778220" cy="8036423"/>
        </a:xfrm>
        <a:prstGeom prst="round2SameRect">
          <a:avLst/>
        </a:prstGeom>
        <a:solidFill>
          <a:schemeClr val="bg1">
            <a:alpha val="90000"/>
          </a:schemeClr>
        </a:solidFill>
        <a:ln w="55000" cap="flat" cmpd="thickThin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0" marR="0" lvl="1" indent="0" algn="just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r>
            <a:rPr lang="ru-RU" sz="1400" b="1" kern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Приступая к обслуживанию граждан пожилого возраста, подробно изучить индивидуальную программу социального обслуживания граждан пожилого возраста, которые закреплены приказом «О закреплении обслуживаемых за социальным работником на норму нагрузки»</a:t>
          </a:r>
          <a:endParaRPr lang="ru-RU" sz="1400" b="1" kern="1200" dirty="0">
            <a:solidFill>
              <a:schemeClr val="tx1"/>
            </a:solidFill>
          </a:endParaRPr>
        </a:p>
      </dsp:txBody>
      <dsp:txXfrm rot="-5400000">
        <a:off x="800936" y="40843"/>
        <a:ext cx="7998433" cy="702240"/>
      </dsp:txXfrm>
    </dsp:sp>
    <dsp:sp modelId="{82691D1F-ABC7-4EEE-836E-96952B349537}">
      <dsp:nvSpPr>
        <dsp:cNvPr id="0" name=""/>
        <dsp:cNvSpPr/>
      </dsp:nvSpPr>
      <dsp:spPr>
        <a:xfrm rot="5400000">
          <a:off x="-171629" y="1135239"/>
          <a:ext cx="1144194" cy="80093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2</a:t>
          </a:r>
          <a:endParaRPr lang="ru-RU" sz="1700" kern="1200" dirty="0"/>
        </a:p>
      </dsp:txBody>
      <dsp:txXfrm rot="-5400000">
        <a:off x="1" y="1364078"/>
        <a:ext cx="800935" cy="343259"/>
      </dsp:txXfrm>
    </dsp:sp>
    <dsp:sp modelId="{3C4BF7FF-AE08-45E5-B170-B2906805FC65}">
      <dsp:nvSpPr>
        <dsp:cNvPr id="0" name=""/>
        <dsp:cNvSpPr/>
      </dsp:nvSpPr>
      <dsp:spPr>
        <a:xfrm rot="5400000">
          <a:off x="4447284" y="-2682738"/>
          <a:ext cx="743726" cy="8036423"/>
        </a:xfrm>
        <a:prstGeom prst="round2SameRect">
          <a:avLst/>
        </a:prstGeom>
        <a:solidFill>
          <a:schemeClr val="bg1">
            <a:alpha val="89804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0" marR="0" lvl="1" indent="0" algn="just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r>
            <a:rPr lang="ru-RU" sz="1400" b="1" kern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Распределить потоки (по видам услуг, по дням недели, по обслуживаемым)</a:t>
          </a:r>
        </a:p>
      </dsp:txBody>
      <dsp:txXfrm rot="-5400000">
        <a:off x="800936" y="999916"/>
        <a:ext cx="8000117" cy="671114"/>
      </dsp:txXfrm>
    </dsp:sp>
    <dsp:sp modelId="{C4E7774B-5E71-45F5-9D31-ACDEA44DCB23}">
      <dsp:nvSpPr>
        <dsp:cNvPr id="0" name=""/>
        <dsp:cNvSpPr/>
      </dsp:nvSpPr>
      <dsp:spPr>
        <a:xfrm rot="5400000">
          <a:off x="-171629" y="2078749"/>
          <a:ext cx="1144194" cy="80093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3</a:t>
          </a:r>
          <a:endParaRPr lang="ru-RU" sz="1700" kern="1200" dirty="0"/>
        </a:p>
      </dsp:txBody>
      <dsp:txXfrm rot="-5400000">
        <a:off x="1" y="2307588"/>
        <a:ext cx="800935" cy="343259"/>
      </dsp:txXfrm>
    </dsp:sp>
    <dsp:sp modelId="{39AB8C7B-AD08-4EFE-8D7B-7F78782779DE}">
      <dsp:nvSpPr>
        <dsp:cNvPr id="0" name=""/>
        <dsp:cNvSpPr/>
      </dsp:nvSpPr>
      <dsp:spPr>
        <a:xfrm rot="5400000">
          <a:off x="4447284" y="-1739228"/>
          <a:ext cx="743726" cy="803642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0" marR="0" lvl="1" indent="0" algn="just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r>
            <a:rPr lang="ru-RU" sz="1400" b="1" kern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Провести визуализацию участка (место жительства всех обслуживаемых)</a:t>
          </a:r>
        </a:p>
      </dsp:txBody>
      <dsp:txXfrm rot="-5400000">
        <a:off x="800936" y="1943426"/>
        <a:ext cx="8000117" cy="67111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9A6598-7262-4776-B052-3354E898071F}">
      <dsp:nvSpPr>
        <dsp:cNvPr id="0" name=""/>
        <dsp:cNvSpPr/>
      </dsp:nvSpPr>
      <dsp:spPr>
        <a:xfrm rot="5400000">
          <a:off x="-175450" y="176101"/>
          <a:ext cx="1169666" cy="81876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4</a:t>
          </a:r>
          <a:endParaRPr lang="ru-RU" sz="1800" kern="1200" dirty="0"/>
        </a:p>
      </dsp:txBody>
      <dsp:txXfrm rot="-5400000">
        <a:off x="0" y="410034"/>
        <a:ext cx="818766" cy="350900"/>
      </dsp:txXfrm>
    </dsp:sp>
    <dsp:sp modelId="{8A72136E-A53B-4E74-9683-FA2FFB9874F2}">
      <dsp:nvSpPr>
        <dsp:cNvPr id="0" name=""/>
        <dsp:cNvSpPr/>
      </dsp:nvSpPr>
      <dsp:spPr>
        <a:xfrm rot="5400000">
          <a:off x="4447921" y="-3628502"/>
          <a:ext cx="760283" cy="801859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0" marR="0" lvl="1" indent="0" algn="just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r>
            <a:rPr lang="ru-RU" sz="1400" b="1" kern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Проанализировать локацию  всех значимых торговых точек, которые будут задействованы в процессе выполнения социального обслуживания</a:t>
          </a:r>
        </a:p>
        <a:p>
          <a:pPr lvl="1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400" b="1" kern="1200" dirty="0">
            <a:solidFill>
              <a:schemeClr val="tx1"/>
            </a:solidFill>
          </a:endParaRPr>
        </a:p>
      </dsp:txBody>
      <dsp:txXfrm rot="-5400000">
        <a:off x="818767" y="37766"/>
        <a:ext cx="7981478" cy="686055"/>
      </dsp:txXfrm>
    </dsp:sp>
    <dsp:sp modelId="{C5AE1825-E5AE-4214-9CBC-8FE9D2ED6660}">
      <dsp:nvSpPr>
        <dsp:cNvPr id="0" name=""/>
        <dsp:cNvSpPr/>
      </dsp:nvSpPr>
      <dsp:spPr>
        <a:xfrm rot="5400000">
          <a:off x="-175450" y="1144104"/>
          <a:ext cx="1169666" cy="81876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5</a:t>
          </a:r>
          <a:endParaRPr lang="ru-RU" sz="1800" kern="1200" dirty="0"/>
        </a:p>
      </dsp:txBody>
      <dsp:txXfrm rot="-5400000">
        <a:off x="0" y="1378037"/>
        <a:ext cx="818766" cy="350900"/>
      </dsp:txXfrm>
    </dsp:sp>
    <dsp:sp modelId="{599820EE-C94E-4930-871D-F270C5C39D06}">
      <dsp:nvSpPr>
        <dsp:cNvPr id="0" name=""/>
        <dsp:cNvSpPr/>
      </dsp:nvSpPr>
      <dsp:spPr>
        <a:xfrm rot="5400000">
          <a:off x="4447921" y="-2660500"/>
          <a:ext cx="760283" cy="801859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0" marR="0" lvl="1" indent="0" algn="just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r>
            <a:rPr lang="ru-RU" sz="1400" b="1" kern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Составить</a:t>
          </a:r>
          <a:r>
            <a:rPr lang="ru-RU" sz="1400" b="1" kern="1200" dirty="0" smtClean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ru-RU" sz="1400" b="1" kern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график посещения граждан пожилого возраста, с учетом всех вышеперечисленных условий</a:t>
          </a:r>
          <a:endParaRPr lang="ru-RU" sz="1400" b="1" kern="1200" dirty="0">
            <a:solidFill>
              <a:schemeClr val="tx1"/>
            </a:solidFill>
          </a:endParaRPr>
        </a:p>
      </dsp:txBody>
      <dsp:txXfrm rot="-5400000">
        <a:off x="818767" y="1005768"/>
        <a:ext cx="7981478" cy="686055"/>
      </dsp:txXfrm>
    </dsp:sp>
    <dsp:sp modelId="{866B1B14-D088-4A18-B6F4-DB754F8A79E3}">
      <dsp:nvSpPr>
        <dsp:cNvPr id="0" name=""/>
        <dsp:cNvSpPr/>
      </dsp:nvSpPr>
      <dsp:spPr>
        <a:xfrm rot="5400000">
          <a:off x="-175450" y="2112106"/>
          <a:ext cx="1169666" cy="81876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6</a:t>
          </a:r>
          <a:endParaRPr lang="ru-RU" sz="1800" kern="1200" dirty="0"/>
        </a:p>
      </dsp:txBody>
      <dsp:txXfrm rot="-5400000">
        <a:off x="0" y="2346039"/>
        <a:ext cx="818766" cy="350900"/>
      </dsp:txXfrm>
    </dsp:sp>
    <dsp:sp modelId="{7C9ACD72-87F4-45AC-9A91-C63C92025FD0}">
      <dsp:nvSpPr>
        <dsp:cNvPr id="0" name=""/>
        <dsp:cNvSpPr/>
      </dsp:nvSpPr>
      <dsp:spPr>
        <a:xfrm rot="5400000">
          <a:off x="4447921" y="-1692498"/>
          <a:ext cx="760283" cy="801859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0" marR="0" lvl="1" indent="0" algn="just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r>
            <a:rPr lang="ru-RU" sz="1400" b="1" kern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Ознакомить</a:t>
          </a:r>
          <a:r>
            <a:rPr lang="ru-RU" sz="1400" b="1" kern="1200" dirty="0" smtClean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rPr>
            <a:t> обслуживаемых с графиком посещений</a:t>
          </a:r>
          <a:endParaRPr lang="ru-RU" sz="1400" b="1" kern="1200" dirty="0">
            <a:solidFill>
              <a:schemeClr val="accent1">
                <a:lumMod val="50000"/>
              </a:schemeClr>
            </a:solidFill>
          </a:endParaRPr>
        </a:p>
      </dsp:txBody>
      <dsp:txXfrm rot="-5400000">
        <a:off x="818767" y="1973770"/>
        <a:ext cx="7981478" cy="68605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6526CD3-FB58-48DE-9927-CC0AEEAD26F5}">
      <dsp:nvSpPr>
        <dsp:cNvPr id="0" name=""/>
        <dsp:cNvSpPr/>
      </dsp:nvSpPr>
      <dsp:spPr>
        <a:xfrm rot="5400000">
          <a:off x="-260426" y="261205"/>
          <a:ext cx="1736173" cy="121532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600" kern="1200" dirty="0" smtClean="0"/>
            <a:t>1</a:t>
          </a:r>
          <a:endParaRPr lang="ru-RU" sz="2600" kern="1200" dirty="0"/>
        </a:p>
      </dsp:txBody>
      <dsp:txXfrm rot="-5400000">
        <a:off x="1" y="608440"/>
        <a:ext cx="1215321" cy="520852"/>
      </dsp:txXfrm>
    </dsp:sp>
    <dsp:sp modelId="{BFDA3199-9121-472D-A807-75FEE74175F3}">
      <dsp:nvSpPr>
        <dsp:cNvPr id="0" name=""/>
        <dsp:cNvSpPr/>
      </dsp:nvSpPr>
      <dsp:spPr>
        <a:xfrm rot="5400000">
          <a:off x="4282047" y="-3059287"/>
          <a:ext cx="1128512" cy="728279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/>
            <a:t>«Оптимизация процесса оказания услуг пенсионерам, инвалидам и детям инвалидам в части обеспечения  лекарственными средствами и изделиями медицинского назначения»</a:t>
          </a:r>
          <a:endParaRPr lang="ru-RU" sz="1600" kern="1200" dirty="0"/>
        </a:p>
      </dsp:txBody>
      <dsp:txXfrm rot="-5400000">
        <a:off x="1204907" y="72942"/>
        <a:ext cx="7227705" cy="1018334"/>
      </dsp:txXfrm>
    </dsp:sp>
    <dsp:sp modelId="{C63A01F9-1449-4AFB-A0E8-84AA447E8404}">
      <dsp:nvSpPr>
        <dsp:cNvPr id="0" name=""/>
        <dsp:cNvSpPr/>
      </dsp:nvSpPr>
      <dsp:spPr>
        <a:xfrm rot="5400000">
          <a:off x="-260426" y="1804607"/>
          <a:ext cx="1736173" cy="121532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600" kern="1200" dirty="0" smtClean="0"/>
            <a:t>2</a:t>
          </a:r>
          <a:endParaRPr lang="ru-RU" sz="2600" kern="1200" dirty="0"/>
        </a:p>
      </dsp:txBody>
      <dsp:txXfrm rot="-5400000">
        <a:off x="1" y="2151842"/>
        <a:ext cx="1215321" cy="520852"/>
      </dsp:txXfrm>
    </dsp:sp>
    <dsp:sp modelId="{DE2A885E-F3CD-4FBD-9124-8B58D826B1D7}">
      <dsp:nvSpPr>
        <dsp:cNvPr id="0" name=""/>
        <dsp:cNvSpPr/>
      </dsp:nvSpPr>
      <dsp:spPr>
        <a:xfrm rot="5400000">
          <a:off x="4292462" y="-1532959"/>
          <a:ext cx="1128512" cy="728279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/>
            <a:t>«Оптимизация процесса оказания услуг пенсионерам, инвалидам и детям инвалидам в части обеспечения продовольственными и промышленными товарами»</a:t>
          </a:r>
          <a:endParaRPr lang="ru-RU" sz="1600" kern="1200" dirty="0"/>
        </a:p>
      </dsp:txBody>
      <dsp:txXfrm rot="-5400000">
        <a:off x="1215322" y="1599270"/>
        <a:ext cx="7227705" cy="1018334"/>
      </dsp:txXfrm>
    </dsp:sp>
    <dsp:sp modelId="{093CC73B-90EA-4830-821E-4B9C6ECCAB9D}">
      <dsp:nvSpPr>
        <dsp:cNvPr id="0" name=""/>
        <dsp:cNvSpPr/>
      </dsp:nvSpPr>
      <dsp:spPr>
        <a:xfrm rot="5400000">
          <a:off x="-260426" y="3348009"/>
          <a:ext cx="1736173" cy="121532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600" kern="1200" dirty="0" smtClean="0"/>
            <a:t>3</a:t>
          </a:r>
          <a:endParaRPr lang="ru-RU" sz="2600" kern="1200" dirty="0"/>
        </a:p>
      </dsp:txBody>
      <dsp:txXfrm rot="-5400000">
        <a:off x="1" y="3695244"/>
        <a:ext cx="1215321" cy="520852"/>
      </dsp:txXfrm>
    </dsp:sp>
    <dsp:sp modelId="{C0BEAEC1-CF30-4F3F-B438-B1E685BBE8AD}">
      <dsp:nvSpPr>
        <dsp:cNvPr id="0" name=""/>
        <dsp:cNvSpPr/>
      </dsp:nvSpPr>
      <dsp:spPr>
        <a:xfrm rot="5400000">
          <a:off x="4292462" y="10442"/>
          <a:ext cx="1128512" cy="728279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/>
            <a:t>«Оптимизация процесса оказания дополнительных услуг по уборке жилых помещений получателей социальных услуг»</a:t>
          </a:r>
          <a:endParaRPr lang="ru-RU" sz="1600" kern="1200" dirty="0"/>
        </a:p>
      </dsp:txBody>
      <dsp:txXfrm rot="-5400000">
        <a:off x="1215322" y="3142672"/>
        <a:ext cx="7227705" cy="1018334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6906AFD-3EF1-4508-9039-325CBA130975}">
      <dsp:nvSpPr>
        <dsp:cNvPr id="0" name=""/>
        <dsp:cNvSpPr/>
      </dsp:nvSpPr>
      <dsp:spPr>
        <a:xfrm>
          <a:off x="594467" y="658"/>
          <a:ext cx="1533918" cy="38347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15000"/>
                <a:satMod val="180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hade val="45000"/>
                <a:satMod val="170000"/>
              </a:schemeClr>
            </a:gs>
            <a:gs pos="70000">
              <a:schemeClr val="accent3">
                <a:hueOff val="0"/>
                <a:satOff val="0"/>
                <a:lumOff val="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3">
              <a:hueOff val="0"/>
              <a:satOff val="0"/>
              <a:lumOff val="0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1</a:t>
          </a:r>
          <a:endParaRPr lang="ru-RU" sz="1700" kern="1200" dirty="0"/>
        </a:p>
      </dsp:txBody>
      <dsp:txXfrm>
        <a:off x="605699" y="11890"/>
        <a:ext cx="1511454" cy="361015"/>
      </dsp:txXfrm>
    </dsp:sp>
    <dsp:sp modelId="{F2D840EA-F78C-4F66-A42A-FD7DFDBC8D64}">
      <dsp:nvSpPr>
        <dsp:cNvPr id="0" name=""/>
        <dsp:cNvSpPr/>
      </dsp:nvSpPr>
      <dsp:spPr>
        <a:xfrm rot="5400000">
          <a:off x="1327872" y="417692"/>
          <a:ext cx="67108" cy="67108"/>
        </a:xfrm>
        <a:prstGeom prst="rightArrow">
          <a:avLst>
            <a:gd name="adj1" fmla="val 66700"/>
            <a:gd name="adj2" fmla="val 5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15000"/>
                <a:satMod val="180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hade val="45000"/>
                <a:satMod val="170000"/>
              </a:schemeClr>
            </a:gs>
            <a:gs pos="70000">
              <a:schemeClr val="accent3">
                <a:hueOff val="0"/>
                <a:satOff val="0"/>
                <a:lumOff val="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3">
              <a:hueOff val="0"/>
              <a:satOff val="0"/>
              <a:lumOff val="0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2E229FC9-984E-4B59-BB45-C16E19BFC0F7}">
      <dsp:nvSpPr>
        <dsp:cNvPr id="0" name=""/>
        <dsp:cNvSpPr/>
      </dsp:nvSpPr>
      <dsp:spPr>
        <a:xfrm>
          <a:off x="594467" y="518356"/>
          <a:ext cx="1533918" cy="383479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Слушайте заказчика!</a:t>
          </a:r>
          <a:endParaRPr lang="ru-RU" sz="1000" kern="1200" dirty="0"/>
        </a:p>
      </dsp:txBody>
      <dsp:txXfrm>
        <a:off x="605699" y="529588"/>
        <a:ext cx="1511454" cy="361015"/>
      </dsp:txXfrm>
    </dsp:sp>
    <dsp:sp modelId="{6A8A3130-D5E1-4287-B563-3819BDFA29AC}">
      <dsp:nvSpPr>
        <dsp:cNvPr id="0" name=""/>
        <dsp:cNvSpPr/>
      </dsp:nvSpPr>
      <dsp:spPr>
        <a:xfrm rot="5400000">
          <a:off x="1327872" y="935390"/>
          <a:ext cx="67108" cy="67108"/>
        </a:xfrm>
        <a:prstGeom prst="rightArrow">
          <a:avLst>
            <a:gd name="adj1" fmla="val 66700"/>
            <a:gd name="adj2" fmla="val 50000"/>
          </a:avLst>
        </a:prstGeom>
        <a:gradFill rotWithShape="0">
          <a:gsLst>
            <a:gs pos="0">
              <a:schemeClr val="accent3">
                <a:hueOff val="2324921"/>
                <a:satOff val="-7429"/>
                <a:lumOff val="-1882"/>
                <a:alphaOff val="0"/>
                <a:shade val="15000"/>
                <a:satMod val="180000"/>
              </a:schemeClr>
            </a:gs>
            <a:gs pos="50000">
              <a:schemeClr val="accent3">
                <a:hueOff val="2324921"/>
                <a:satOff val="-7429"/>
                <a:lumOff val="-1882"/>
                <a:alphaOff val="0"/>
                <a:shade val="45000"/>
                <a:satMod val="170000"/>
              </a:schemeClr>
            </a:gs>
            <a:gs pos="70000">
              <a:schemeClr val="accent3">
                <a:hueOff val="2324921"/>
                <a:satOff val="-7429"/>
                <a:lumOff val="-1882"/>
                <a:alphaOff val="0"/>
                <a:tint val="99000"/>
                <a:shade val="65000"/>
                <a:satMod val="155000"/>
              </a:schemeClr>
            </a:gs>
            <a:gs pos="100000">
              <a:schemeClr val="accent3">
                <a:hueOff val="2324921"/>
                <a:satOff val="-7429"/>
                <a:lumOff val="-1882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3">
              <a:hueOff val="2324921"/>
              <a:satOff val="-7429"/>
              <a:lumOff val="-1882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1656F818-EFD1-45BC-9F86-BED82070D240}">
      <dsp:nvSpPr>
        <dsp:cNvPr id="0" name=""/>
        <dsp:cNvSpPr/>
      </dsp:nvSpPr>
      <dsp:spPr>
        <a:xfrm>
          <a:off x="594467" y="1036053"/>
          <a:ext cx="1533918" cy="383479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alpha val="90000"/>
            <a:hueOff val="2554227"/>
            <a:satOff val="-10620"/>
            <a:lumOff val="-897"/>
            <a:alphaOff val="0"/>
          </a:schemeClr>
        </a:solidFill>
        <a:ln w="9525" cap="flat" cmpd="sng" algn="ctr">
          <a:solidFill>
            <a:schemeClr val="accent3">
              <a:tint val="40000"/>
              <a:alpha val="90000"/>
              <a:hueOff val="2554227"/>
              <a:satOff val="-10620"/>
              <a:lumOff val="-897"/>
              <a:alphaOff val="0"/>
            </a:schemeClr>
          </a:solidFill>
          <a:prstDash val="solid"/>
        </a:ln>
        <a:effectLst>
          <a:outerShdw blurRad="50800" dist="381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Предвосхищайте его потребности!</a:t>
          </a:r>
          <a:endParaRPr lang="ru-RU" sz="1000" kern="1200" dirty="0"/>
        </a:p>
      </dsp:txBody>
      <dsp:txXfrm>
        <a:off x="605699" y="1047285"/>
        <a:ext cx="1511454" cy="361015"/>
      </dsp:txXfrm>
    </dsp:sp>
    <dsp:sp modelId="{F1876663-9AE4-414E-A63C-8702A1C57795}">
      <dsp:nvSpPr>
        <dsp:cNvPr id="0" name=""/>
        <dsp:cNvSpPr/>
      </dsp:nvSpPr>
      <dsp:spPr>
        <a:xfrm>
          <a:off x="2343134" y="658"/>
          <a:ext cx="1533918" cy="38347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5812304"/>
                <a:satOff val="-18573"/>
                <a:lumOff val="-4706"/>
                <a:alphaOff val="0"/>
                <a:shade val="15000"/>
                <a:satMod val="180000"/>
              </a:schemeClr>
            </a:gs>
            <a:gs pos="50000">
              <a:schemeClr val="accent3">
                <a:hueOff val="5812304"/>
                <a:satOff val="-18573"/>
                <a:lumOff val="-4706"/>
                <a:alphaOff val="0"/>
                <a:shade val="45000"/>
                <a:satMod val="170000"/>
              </a:schemeClr>
            </a:gs>
            <a:gs pos="70000">
              <a:schemeClr val="accent3">
                <a:hueOff val="5812304"/>
                <a:satOff val="-18573"/>
                <a:lumOff val="-4706"/>
                <a:alphaOff val="0"/>
                <a:tint val="99000"/>
                <a:shade val="65000"/>
                <a:satMod val="155000"/>
              </a:schemeClr>
            </a:gs>
            <a:gs pos="100000">
              <a:schemeClr val="accent3">
                <a:hueOff val="5812304"/>
                <a:satOff val="-18573"/>
                <a:lumOff val="-4706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3">
              <a:hueOff val="5812304"/>
              <a:satOff val="-18573"/>
              <a:lumOff val="-4706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2</a:t>
          </a:r>
          <a:endParaRPr lang="ru-RU" sz="1700" kern="1200" dirty="0"/>
        </a:p>
      </dsp:txBody>
      <dsp:txXfrm>
        <a:off x="2354366" y="11890"/>
        <a:ext cx="1511454" cy="361015"/>
      </dsp:txXfrm>
    </dsp:sp>
    <dsp:sp modelId="{1FA2EFA7-652A-4ED1-A65C-50AB5D1C1864}">
      <dsp:nvSpPr>
        <dsp:cNvPr id="0" name=""/>
        <dsp:cNvSpPr/>
      </dsp:nvSpPr>
      <dsp:spPr>
        <a:xfrm rot="5400000">
          <a:off x="3076539" y="417692"/>
          <a:ext cx="67108" cy="67108"/>
        </a:xfrm>
        <a:prstGeom prst="rightArrow">
          <a:avLst>
            <a:gd name="adj1" fmla="val 66700"/>
            <a:gd name="adj2" fmla="val 50000"/>
          </a:avLst>
        </a:prstGeom>
        <a:gradFill rotWithShape="0">
          <a:gsLst>
            <a:gs pos="0">
              <a:schemeClr val="accent3">
                <a:hueOff val="4649843"/>
                <a:satOff val="-14858"/>
                <a:lumOff val="-3765"/>
                <a:alphaOff val="0"/>
                <a:shade val="15000"/>
                <a:satMod val="180000"/>
              </a:schemeClr>
            </a:gs>
            <a:gs pos="50000">
              <a:schemeClr val="accent3">
                <a:hueOff val="4649843"/>
                <a:satOff val="-14858"/>
                <a:lumOff val="-3765"/>
                <a:alphaOff val="0"/>
                <a:shade val="45000"/>
                <a:satMod val="170000"/>
              </a:schemeClr>
            </a:gs>
            <a:gs pos="70000">
              <a:schemeClr val="accent3">
                <a:hueOff val="4649843"/>
                <a:satOff val="-14858"/>
                <a:lumOff val="-3765"/>
                <a:alphaOff val="0"/>
                <a:tint val="99000"/>
                <a:shade val="65000"/>
                <a:satMod val="155000"/>
              </a:schemeClr>
            </a:gs>
            <a:gs pos="100000">
              <a:schemeClr val="accent3">
                <a:hueOff val="4649843"/>
                <a:satOff val="-14858"/>
                <a:lumOff val="-3765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3">
              <a:hueOff val="4649843"/>
              <a:satOff val="-14858"/>
              <a:lumOff val="-3765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E9E4B227-BACA-4DE6-B667-479CDC09CB62}">
      <dsp:nvSpPr>
        <dsp:cNvPr id="0" name=""/>
        <dsp:cNvSpPr/>
      </dsp:nvSpPr>
      <dsp:spPr>
        <a:xfrm>
          <a:off x="2343134" y="518356"/>
          <a:ext cx="1533918" cy="383479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alpha val="90000"/>
            <a:hueOff val="5108454"/>
            <a:satOff val="-21239"/>
            <a:lumOff val="-1794"/>
            <a:alphaOff val="0"/>
          </a:schemeClr>
        </a:solidFill>
        <a:ln w="9525" cap="flat" cmpd="sng" algn="ctr">
          <a:solidFill>
            <a:schemeClr val="accent3">
              <a:tint val="40000"/>
              <a:alpha val="90000"/>
              <a:hueOff val="5108454"/>
              <a:satOff val="-21239"/>
              <a:lumOff val="-1794"/>
              <a:alphaOff val="0"/>
            </a:schemeClr>
          </a:solidFill>
          <a:prstDash val="solid"/>
        </a:ln>
        <a:effectLst>
          <a:outerShdw blurRad="50800" dist="381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Предлагайте услуги наивысшего качества!</a:t>
          </a:r>
          <a:endParaRPr lang="ru-RU" sz="1000" kern="1200" dirty="0"/>
        </a:p>
      </dsp:txBody>
      <dsp:txXfrm>
        <a:off x="2354366" y="529588"/>
        <a:ext cx="1511454" cy="361015"/>
      </dsp:txXfrm>
    </dsp:sp>
    <dsp:sp modelId="{043AEF8F-B368-4BE8-986D-DAD3934DA04D}">
      <dsp:nvSpPr>
        <dsp:cNvPr id="0" name=""/>
        <dsp:cNvSpPr/>
      </dsp:nvSpPr>
      <dsp:spPr>
        <a:xfrm rot="5400000">
          <a:off x="3076539" y="935390"/>
          <a:ext cx="67108" cy="67108"/>
        </a:xfrm>
        <a:prstGeom prst="rightArrow">
          <a:avLst>
            <a:gd name="adj1" fmla="val 66700"/>
            <a:gd name="adj2" fmla="val 50000"/>
          </a:avLst>
        </a:prstGeom>
        <a:gradFill rotWithShape="0">
          <a:gsLst>
            <a:gs pos="0">
              <a:schemeClr val="accent3">
                <a:hueOff val="6974765"/>
                <a:satOff val="-22287"/>
                <a:lumOff val="-5647"/>
                <a:alphaOff val="0"/>
                <a:shade val="15000"/>
                <a:satMod val="180000"/>
              </a:schemeClr>
            </a:gs>
            <a:gs pos="50000">
              <a:schemeClr val="accent3">
                <a:hueOff val="6974765"/>
                <a:satOff val="-22287"/>
                <a:lumOff val="-5647"/>
                <a:alphaOff val="0"/>
                <a:shade val="45000"/>
                <a:satMod val="170000"/>
              </a:schemeClr>
            </a:gs>
            <a:gs pos="70000">
              <a:schemeClr val="accent3">
                <a:hueOff val="6974765"/>
                <a:satOff val="-22287"/>
                <a:lumOff val="-5647"/>
                <a:alphaOff val="0"/>
                <a:tint val="99000"/>
                <a:shade val="65000"/>
                <a:satMod val="155000"/>
              </a:schemeClr>
            </a:gs>
            <a:gs pos="100000">
              <a:schemeClr val="accent3">
                <a:hueOff val="6974765"/>
                <a:satOff val="-22287"/>
                <a:lumOff val="-5647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3">
              <a:hueOff val="6974765"/>
              <a:satOff val="-22287"/>
              <a:lumOff val="-5647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4B897C0-5FFF-4F06-AAA6-EFC13719980E}">
      <dsp:nvSpPr>
        <dsp:cNvPr id="0" name=""/>
        <dsp:cNvSpPr/>
      </dsp:nvSpPr>
      <dsp:spPr>
        <a:xfrm>
          <a:off x="2343134" y="1036053"/>
          <a:ext cx="1533918" cy="383479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alpha val="90000"/>
            <a:hueOff val="7662682"/>
            <a:satOff val="-31859"/>
            <a:lumOff val="-2691"/>
            <a:alphaOff val="0"/>
          </a:schemeClr>
        </a:solidFill>
        <a:ln w="9525" cap="flat" cmpd="sng" algn="ctr">
          <a:solidFill>
            <a:schemeClr val="accent3">
              <a:tint val="40000"/>
              <a:alpha val="90000"/>
              <a:hueOff val="7662682"/>
              <a:satOff val="-31859"/>
              <a:lumOff val="-2691"/>
              <a:alphaOff val="0"/>
            </a:schemeClr>
          </a:solidFill>
          <a:prstDash val="solid"/>
        </a:ln>
        <a:effectLst>
          <a:outerShdw blurRad="50800" dist="381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/>
            <a:t>Выполняйте услуги в сроки, установленные заказчиком.</a:t>
          </a:r>
          <a:endParaRPr lang="ru-RU" sz="800" kern="1200" dirty="0"/>
        </a:p>
      </dsp:txBody>
      <dsp:txXfrm>
        <a:off x="2354366" y="1047285"/>
        <a:ext cx="1511454" cy="361015"/>
      </dsp:txXfrm>
    </dsp:sp>
    <dsp:sp modelId="{073691D8-2B83-4CAA-A75F-3F21B6AFB8FE}">
      <dsp:nvSpPr>
        <dsp:cNvPr id="0" name=""/>
        <dsp:cNvSpPr/>
      </dsp:nvSpPr>
      <dsp:spPr>
        <a:xfrm>
          <a:off x="4091801" y="658"/>
          <a:ext cx="1533918" cy="38347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11624607"/>
                <a:satOff val="-37145"/>
                <a:lumOff val="-9412"/>
                <a:alphaOff val="0"/>
                <a:shade val="15000"/>
                <a:satMod val="180000"/>
              </a:schemeClr>
            </a:gs>
            <a:gs pos="50000">
              <a:schemeClr val="accent3">
                <a:hueOff val="11624607"/>
                <a:satOff val="-37145"/>
                <a:lumOff val="-9412"/>
                <a:alphaOff val="0"/>
                <a:shade val="45000"/>
                <a:satMod val="170000"/>
              </a:schemeClr>
            </a:gs>
            <a:gs pos="70000">
              <a:schemeClr val="accent3">
                <a:hueOff val="11624607"/>
                <a:satOff val="-37145"/>
                <a:lumOff val="-9412"/>
                <a:alphaOff val="0"/>
                <a:tint val="99000"/>
                <a:shade val="65000"/>
                <a:satMod val="155000"/>
              </a:schemeClr>
            </a:gs>
            <a:gs pos="100000">
              <a:schemeClr val="accent3">
                <a:hueOff val="11624607"/>
                <a:satOff val="-37145"/>
                <a:lumOff val="-9412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3">
              <a:hueOff val="11624607"/>
              <a:satOff val="-37145"/>
              <a:lumOff val="-9412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3</a:t>
          </a:r>
          <a:endParaRPr lang="ru-RU" sz="1700" kern="1200" dirty="0"/>
        </a:p>
      </dsp:txBody>
      <dsp:txXfrm>
        <a:off x="4103033" y="11890"/>
        <a:ext cx="1511454" cy="361015"/>
      </dsp:txXfrm>
    </dsp:sp>
    <dsp:sp modelId="{564D64DA-E17B-4C03-ABDE-69B095020F05}">
      <dsp:nvSpPr>
        <dsp:cNvPr id="0" name=""/>
        <dsp:cNvSpPr/>
      </dsp:nvSpPr>
      <dsp:spPr>
        <a:xfrm rot="5400000">
          <a:off x="4825205" y="417692"/>
          <a:ext cx="67108" cy="67108"/>
        </a:xfrm>
        <a:prstGeom prst="rightArrow">
          <a:avLst>
            <a:gd name="adj1" fmla="val 66700"/>
            <a:gd name="adj2" fmla="val 50000"/>
          </a:avLst>
        </a:prstGeom>
        <a:gradFill rotWithShape="0">
          <a:gsLst>
            <a:gs pos="0">
              <a:schemeClr val="accent3">
                <a:hueOff val="9299686"/>
                <a:satOff val="-29716"/>
                <a:lumOff val="-7530"/>
                <a:alphaOff val="0"/>
                <a:shade val="15000"/>
                <a:satMod val="180000"/>
              </a:schemeClr>
            </a:gs>
            <a:gs pos="50000">
              <a:schemeClr val="accent3">
                <a:hueOff val="9299686"/>
                <a:satOff val="-29716"/>
                <a:lumOff val="-7530"/>
                <a:alphaOff val="0"/>
                <a:shade val="45000"/>
                <a:satMod val="170000"/>
              </a:schemeClr>
            </a:gs>
            <a:gs pos="70000">
              <a:schemeClr val="accent3">
                <a:hueOff val="9299686"/>
                <a:satOff val="-29716"/>
                <a:lumOff val="-753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3">
                <a:hueOff val="9299686"/>
                <a:satOff val="-29716"/>
                <a:lumOff val="-753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3">
              <a:hueOff val="9299686"/>
              <a:satOff val="-29716"/>
              <a:lumOff val="-7530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706D6EB0-C37C-4411-BDE3-F1709B7B21FB}">
      <dsp:nvSpPr>
        <dsp:cNvPr id="0" name=""/>
        <dsp:cNvSpPr/>
      </dsp:nvSpPr>
      <dsp:spPr>
        <a:xfrm>
          <a:off x="4091801" y="518356"/>
          <a:ext cx="1533918" cy="383479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alpha val="90000"/>
            <a:hueOff val="10216909"/>
            <a:satOff val="-42478"/>
            <a:lumOff val="-3588"/>
            <a:alphaOff val="0"/>
          </a:schemeClr>
        </a:solidFill>
        <a:ln w="9525" cap="flat" cmpd="sng" algn="ctr">
          <a:solidFill>
            <a:schemeClr val="accent3">
              <a:tint val="40000"/>
              <a:alpha val="90000"/>
              <a:hueOff val="10216909"/>
              <a:satOff val="-42478"/>
              <a:lumOff val="-3588"/>
              <a:alphaOff val="0"/>
            </a:schemeClr>
          </a:solidFill>
          <a:prstDash val="solid"/>
        </a:ln>
        <a:effectLst>
          <a:outerShdw blurRad="50800" dist="381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Будьте вежливыми и доброжелательными!</a:t>
          </a:r>
          <a:endParaRPr lang="ru-RU" sz="1000" kern="1200" dirty="0"/>
        </a:p>
      </dsp:txBody>
      <dsp:txXfrm>
        <a:off x="4103033" y="529588"/>
        <a:ext cx="1511454" cy="361015"/>
      </dsp:txXfrm>
    </dsp:sp>
    <dsp:sp modelId="{8808DB58-4D8D-48AD-BBA2-8BB613D46927}">
      <dsp:nvSpPr>
        <dsp:cNvPr id="0" name=""/>
        <dsp:cNvSpPr/>
      </dsp:nvSpPr>
      <dsp:spPr>
        <a:xfrm rot="5400000">
          <a:off x="4825205" y="935390"/>
          <a:ext cx="67108" cy="67108"/>
        </a:xfrm>
        <a:prstGeom prst="rightArrow">
          <a:avLst>
            <a:gd name="adj1" fmla="val 66700"/>
            <a:gd name="adj2" fmla="val 50000"/>
          </a:avLst>
        </a:prstGeom>
        <a:gradFill rotWithShape="0">
          <a:gsLst>
            <a:gs pos="0">
              <a:schemeClr val="accent3">
                <a:hueOff val="11624607"/>
                <a:satOff val="-37145"/>
                <a:lumOff val="-9412"/>
                <a:alphaOff val="0"/>
                <a:shade val="15000"/>
                <a:satMod val="180000"/>
              </a:schemeClr>
            </a:gs>
            <a:gs pos="50000">
              <a:schemeClr val="accent3">
                <a:hueOff val="11624607"/>
                <a:satOff val="-37145"/>
                <a:lumOff val="-9412"/>
                <a:alphaOff val="0"/>
                <a:shade val="45000"/>
                <a:satMod val="170000"/>
              </a:schemeClr>
            </a:gs>
            <a:gs pos="70000">
              <a:schemeClr val="accent3">
                <a:hueOff val="11624607"/>
                <a:satOff val="-37145"/>
                <a:lumOff val="-9412"/>
                <a:alphaOff val="0"/>
                <a:tint val="99000"/>
                <a:shade val="65000"/>
                <a:satMod val="155000"/>
              </a:schemeClr>
            </a:gs>
            <a:gs pos="100000">
              <a:schemeClr val="accent3">
                <a:hueOff val="11624607"/>
                <a:satOff val="-37145"/>
                <a:lumOff val="-9412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3">
              <a:hueOff val="11624607"/>
              <a:satOff val="-37145"/>
              <a:lumOff val="-9412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0183B842-E376-4678-9E59-772700280FE4}">
      <dsp:nvSpPr>
        <dsp:cNvPr id="0" name=""/>
        <dsp:cNvSpPr/>
      </dsp:nvSpPr>
      <dsp:spPr>
        <a:xfrm>
          <a:off x="4091801" y="1036053"/>
          <a:ext cx="1533918" cy="383479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alpha val="90000"/>
            <a:hueOff val="12771136"/>
            <a:satOff val="-53098"/>
            <a:lumOff val="-4485"/>
            <a:alphaOff val="0"/>
          </a:schemeClr>
        </a:solidFill>
        <a:ln w="9525" cap="flat" cmpd="sng" algn="ctr">
          <a:solidFill>
            <a:schemeClr val="accent3">
              <a:tint val="40000"/>
              <a:alpha val="90000"/>
              <a:hueOff val="12771136"/>
              <a:satOff val="-53098"/>
              <a:lumOff val="-4485"/>
              <a:alphaOff val="0"/>
            </a:schemeClr>
          </a:solidFill>
          <a:prstDash val="solid"/>
        </a:ln>
        <a:effectLst>
          <a:outerShdw blurRad="50800" dist="381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/>
            <a:t>Мгновенно реагируйте на изменений требований заказчика!</a:t>
          </a:r>
          <a:endParaRPr lang="ru-RU" sz="800" kern="1200" dirty="0"/>
        </a:p>
      </dsp:txBody>
      <dsp:txXfrm>
        <a:off x="4103033" y="1047285"/>
        <a:ext cx="1511454" cy="361015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8AB7B14-6BDF-4B1E-84E9-5A7F22CDC41E}">
      <dsp:nvSpPr>
        <dsp:cNvPr id="0" name=""/>
        <dsp:cNvSpPr/>
      </dsp:nvSpPr>
      <dsp:spPr>
        <a:xfrm>
          <a:off x="1515864" y="-58766"/>
          <a:ext cx="1088754" cy="1019870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15000"/>
                <a:satMod val="180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hade val="45000"/>
                <a:satMod val="170000"/>
              </a:schemeClr>
            </a:gs>
            <a:gs pos="70000">
              <a:schemeClr val="accent2">
                <a:hueOff val="0"/>
                <a:satOff val="0"/>
                <a:lumOff val="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>
              <a:latin typeface="Times New Roman" pitchFamily="18" charset="0"/>
              <a:cs typeface="Times New Roman" pitchFamily="18" charset="0"/>
            </a:rPr>
            <a:t>СОРТИРОВКА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>
              <a:latin typeface="Times New Roman" pitchFamily="18" charset="0"/>
              <a:cs typeface="Times New Roman" pitchFamily="18" charset="0"/>
            </a:rPr>
            <a:t> «Избавься от ненужного!»</a:t>
          </a:r>
          <a:endParaRPr lang="ru-RU" sz="8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1675308" y="90591"/>
        <a:ext cx="769866" cy="721156"/>
      </dsp:txXfrm>
    </dsp:sp>
    <dsp:sp modelId="{95D19596-461D-49C5-99B9-D7ED5E57D582}">
      <dsp:nvSpPr>
        <dsp:cNvPr id="0" name=""/>
        <dsp:cNvSpPr/>
      </dsp:nvSpPr>
      <dsp:spPr>
        <a:xfrm rot="2160000">
          <a:off x="2542932" y="717714"/>
          <a:ext cx="218595" cy="327117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15000"/>
                <a:satMod val="180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hade val="45000"/>
                <a:satMod val="170000"/>
              </a:schemeClr>
            </a:gs>
            <a:gs pos="70000">
              <a:schemeClr val="accent2">
                <a:hueOff val="0"/>
                <a:satOff val="0"/>
                <a:lumOff val="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000" kern="1200"/>
        </a:p>
      </dsp:txBody>
      <dsp:txXfrm>
        <a:off x="2549194" y="763864"/>
        <a:ext cx="153017" cy="196271"/>
      </dsp:txXfrm>
    </dsp:sp>
    <dsp:sp modelId="{36EAB30B-89CE-4329-AC22-518EBC431029}">
      <dsp:nvSpPr>
        <dsp:cNvPr id="0" name=""/>
        <dsp:cNvSpPr/>
      </dsp:nvSpPr>
      <dsp:spPr>
        <a:xfrm>
          <a:off x="2683018" y="855428"/>
          <a:ext cx="1109845" cy="902777"/>
        </a:xfrm>
        <a:prstGeom prst="ellipse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15000"/>
                <a:satMod val="180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hade val="45000"/>
                <a:satMod val="170000"/>
              </a:schemeClr>
            </a:gs>
            <a:gs pos="70000">
              <a:schemeClr val="accent3">
                <a:hueOff val="0"/>
                <a:satOff val="0"/>
                <a:lumOff val="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>
              <a:latin typeface="Times New Roman" pitchFamily="18" charset="0"/>
              <a:cs typeface="Times New Roman" pitchFamily="18" charset="0"/>
            </a:rPr>
            <a:t>СОБЛЮДЕНИЕ  ПОРЯДКА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>
              <a:latin typeface="Times New Roman" pitchFamily="18" charset="0"/>
              <a:cs typeface="Times New Roman" pitchFamily="18" charset="0"/>
            </a:rPr>
            <a:t> «Каждая вещь на своем месте!»</a:t>
          </a:r>
          <a:endParaRPr lang="ru-RU" sz="8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2845551" y="987637"/>
        <a:ext cx="784779" cy="638359"/>
      </dsp:txXfrm>
    </dsp:sp>
    <dsp:sp modelId="{67AFDADE-B0BD-45A2-ACCA-E3F4AF397E36}">
      <dsp:nvSpPr>
        <dsp:cNvPr id="0" name=""/>
        <dsp:cNvSpPr/>
      </dsp:nvSpPr>
      <dsp:spPr>
        <a:xfrm rot="6183644">
          <a:off x="3046230" y="1698829"/>
          <a:ext cx="125653" cy="327117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15000"/>
                <a:satMod val="180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hade val="45000"/>
                <a:satMod val="170000"/>
              </a:schemeClr>
            </a:gs>
            <a:gs pos="70000">
              <a:schemeClr val="accent3">
                <a:hueOff val="0"/>
                <a:satOff val="0"/>
                <a:lumOff val="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000" kern="1200"/>
        </a:p>
      </dsp:txBody>
      <dsp:txXfrm rot="10800000">
        <a:off x="3069337" y="1745892"/>
        <a:ext cx="87957" cy="196271"/>
      </dsp:txXfrm>
    </dsp:sp>
    <dsp:sp modelId="{C7893E96-27A9-45A9-9B5B-1F2067579F6C}">
      <dsp:nvSpPr>
        <dsp:cNvPr id="0" name=""/>
        <dsp:cNvSpPr/>
      </dsp:nvSpPr>
      <dsp:spPr>
        <a:xfrm>
          <a:off x="2343657" y="1967796"/>
          <a:ext cx="1214202" cy="1153916"/>
        </a:xfrm>
        <a:prstGeom prst="ellipse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15000"/>
                <a:satMod val="180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hade val="45000"/>
                <a:satMod val="170000"/>
              </a:schemeClr>
            </a:gs>
            <a:gs pos="70000">
              <a:schemeClr val="accent4">
                <a:hueOff val="0"/>
                <a:satOff val="0"/>
                <a:lumOff val="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latin typeface="Times New Roman" pitchFamily="18" charset="0"/>
              <a:cs typeface="Times New Roman" pitchFamily="18" charset="0"/>
            </a:rPr>
            <a:t>СОДЕРЖАНИЕ В ЧИСТОТЕ</a:t>
          </a:r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latin typeface="Times New Roman" pitchFamily="18" charset="0"/>
              <a:cs typeface="Times New Roman" pitchFamily="18" charset="0"/>
            </a:rPr>
            <a:t> «Содержи рабочее место в чистоте!»</a:t>
          </a:r>
          <a:endParaRPr lang="ru-RU" sz="9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2521473" y="2136783"/>
        <a:ext cx="858570" cy="815942"/>
      </dsp:txXfrm>
    </dsp:sp>
    <dsp:sp modelId="{B623F745-E047-4CF9-9DBE-273D60162C61}">
      <dsp:nvSpPr>
        <dsp:cNvPr id="0" name=""/>
        <dsp:cNvSpPr/>
      </dsp:nvSpPr>
      <dsp:spPr>
        <a:xfrm rot="10489584">
          <a:off x="2006976" y="2455760"/>
          <a:ext cx="240488" cy="327117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15000"/>
                <a:satMod val="180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hade val="45000"/>
                <a:satMod val="170000"/>
              </a:schemeClr>
            </a:gs>
            <a:gs pos="70000">
              <a:schemeClr val="accent4">
                <a:hueOff val="0"/>
                <a:satOff val="0"/>
                <a:lumOff val="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000" kern="1200"/>
        </a:p>
      </dsp:txBody>
      <dsp:txXfrm rot="10800000">
        <a:off x="2078975" y="2517930"/>
        <a:ext cx="168342" cy="196271"/>
      </dsp:txXfrm>
    </dsp:sp>
    <dsp:sp modelId="{FD3EFE77-43C4-4887-849C-E0CDABC72129}">
      <dsp:nvSpPr>
        <dsp:cNvPr id="0" name=""/>
        <dsp:cNvSpPr/>
      </dsp:nvSpPr>
      <dsp:spPr>
        <a:xfrm>
          <a:off x="767797" y="2147563"/>
          <a:ext cx="1129171" cy="1087446"/>
        </a:xfrm>
        <a:prstGeom prst="ellips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15000"/>
                <a:satMod val="180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hade val="45000"/>
                <a:satMod val="170000"/>
              </a:schemeClr>
            </a:gs>
            <a:gs pos="70000">
              <a:schemeClr val="accent5">
                <a:hueOff val="0"/>
                <a:satOff val="0"/>
                <a:lumOff val="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latin typeface="Times New Roman" pitchFamily="18" charset="0"/>
              <a:cs typeface="Times New Roman" pitchFamily="18" charset="0"/>
            </a:rPr>
            <a:t>СТАНДАРТИЗАЦИЯ «Создай стандарт рабочего места!»</a:t>
          </a:r>
          <a:endParaRPr lang="ru-RU" sz="10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933160" y="2306816"/>
        <a:ext cx="798445" cy="768940"/>
      </dsp:txXfrm>
    </dsp:sp>
    <dsp:sp modelId="{E9229A70-123C-47E1-B65A-32B34DF751B2}">
      <dsp:nvSpPr>
        <dsp:cNvPr id="0" name=""/>
        <dsp:cNvSpPr/>
      </dsp:nvSpPr>
      <dsp:spPr>
        <a:xfrm rot="15120000">
          <a:off x="998817" y="1825409"/>
          <a:ext cx="210737" cy="327117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15000"/>
                <a:satMod val="180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hade val="45000"/>
                <a:satMod val="170000"/>
              </a:schemeClr>
            </a:gs>
            <a:gs pos="70000">
              <a:schemeClr val="accent5">
                <a:hueOff val="0"/>
                <a:satOff val="0"/>
                <a:lumOff val="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000" kern="1200"/>
        </a:p>
      </dsp:txBody>
      <dsp:txXfrm rot="10800000">
        <a:off x="1040196" y="1920895"/>
        <a:ext cx="147516" cy="196271"/>
      </dsp:txXfrm>
    </dsp:sp>
    <dsp:sp modelId="{C8023C2F-F440-434C-ABF6-04C611148D95}">
      <dsp:nvSpPr>
        <dsp:cNvPr id="0" name=""/>
        <dsp:cNvSpPr/>
      </dsp:nvSpPr>
      <dsp:spPr>
        <a:xfrm>
          <a:off x="291496" y="800919"/>
          <a:ext cx="1182092" cy="1011797"/>
        </a:xfrm>
        <a:prstGeom prst="ellipse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15000"/>
                <a:satMod val="180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hade val="45000"/>
                <a:satMod val="170000"/>
              </a:schemeClr>
            </a:gs>
            <a:gs pos="70000">
              <a:schemeClr val="accent6">
                <a:hueOff val="0"/>
                <a:satOff val="0"/>
                <a:lumOff val="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>
              <a:latin typeface="Times New Roman" pitchFamily="18" charset="0"/>
              <a:cs typeface="Times New Roman" pitchFamily="18" charset="0"/>
            </a:rPr>
            <a:t>СОВЕРШЕНСТВОВАНИЕ «Постоянно совершенствуй свое рабочее место!»</a:t>
          </a:r>
          <a:endParaRPr lang="ru-RU" sz="8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464609" y="949093"/>
        <a:ext cx="835866" cy="715449"/>
      </dsp:txXfrm>
    </dsp:sp>
    <dsp:sp modelId="{28782732-F035-4EB9-86F8-383576EFFDE3}">
      <dsp:nvSpPr>
        <dsp:cNvPr id="0" name=""/>
        <dsp:cNvSpPr/>
      </dsp:nvSpPr>
      <dsp:spPr>
        <a:xfrm rot="19440000">
          <a:off x="1379895" y="711242"/>
          <a:ext cx="194531" cy="327117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15000"/>
                <a:satMod val="180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hade val="45000"/>
                <a:satMod val="170000"/>
              </a:schemeClr>
            </a:gs>
            <a:gs pos="70000">
              <a:schemeClr val="accent6">
                <a:hueOff val="0"/>
                <a:satOff val="0"/>
                <a:lumOff val="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000" kern="1200"/>
        </a:p>
      </dsp:txBody>
      <dsp:txXfrm>
        <a:off x="1385468" y="793816"/>
        <a:ext cx="136172" cy="196271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E877EED-B3E0-4057-A1EE-BAD9F5A7B957}">
      <dsp:nvSpPr>
        <dsp:cNvPr id="0" name=""/>
        <dsp:cNvSpPr/>
      </dsp:nvSpPr>
      <dsp:spPr>
        <a:xfrm>
          <a:off x="1922223" y="1363333"/>
          <a:ext cx="820560" cy="820560"/>
        </a:xfrm>
        <a:prstGeom prst="ellipse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15000"/>
                <a:satMod val="180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hade val="45000"/>
                <a:satMod val="170000"/>
              </a:schemeClr>
            </a:gs>
            <a:gs pos="70000">
              <a:schemeClr val="accent4">
                <a:hueOff val="0"/>
                <a:satOff val="0"/>
                <a:lumOff val="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4">
              <a:hueOff val="0"/>
              <a:satOff val="0"/>
              <a:lumOff val="0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000" kern="1200" dirty="0"/>
        </a:p>
      </dsp:txBody>
      <dsp:txXfrm>
        <a:off x="2042391" y="1483501"/>
        <a:ext cx="580224" cy="580224"/>
      </dsp:txXfrm>
    </dsp:sp>
    <dsp:sp modelId="{B62807E7-856E-4FA7-95A7-E3C376569144}">
      <dsp:nvSpPr>
        <dsp:cNvPr id="0" name=""/>
        <dsp:cNvSpPr/>
      </dsp:nvSpPr>
      <dsp:spPr>
        <a:xfrm rot="15801050">
          <a:off x="2159538" y="1238784"/>
          <a:ext cx="224879" cy="31249"/>
        </a:xfrm>
        <a:custGeom>
          <a:avLst/>
          <a:gdLst/>
          <a:ahLst/>
          <a:cxnLst/>
          <a:rect l="0" t="0" r="0" b="0"/>
          <a:pathLst>
            <a:path>
              <a:moveTo>
                <a:pt x="0" y="15624"/>
              </a:moveTo>
              <a:lnTo>
                <a:pt x="224879" y="15624"/>
              </a:lnTo>
            </a:path>
          </a:pathLst>
        </a:custGeom>
        <a:noFill/>
        <a:ln w="55000" cap="flat" cmpd="thickThin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 rot="10800000">
        <a:off x="2266356" y="1248787"/>
        <a:ext cx="11243" cy="11243"/>
      </dsp:txXfrm>
    </dsp:sp>
    <dsp:sp modelId="{26B57186-937C-4E27-B545-48339A3FD935}">
      <dsp:nvSpPr>
        <dsp:cNvPr id="0" name=""/>
        <dsp:cNvSpPr/>
      </dsp:nvSpPr>
      <dsp:spPr>
        <a:xfrm>
          <a:off x="1794086" y="400341"/>
          <a:ext cx="843429" cy="744338"/>
        </a:xfrm>
        <a:prstGeom prst="ellips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15000"/>
                <a:satMod val="180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hade val="45000"/>
                <a:satMod val="170000"/>
              </a:schemeClr>
            </a:gs>
            <a:gs pos="70000">
              <a:schemeClr val="accent5">
                <a:hueOff val="0"/>
                <a:satOff val="0"/>
                <a:lumOff val="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5">
              <a:hueOff val="0"/>
              <a:satOff val="0"/>
              <a:lumOff val="0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latin typeface="Times New Roman" pitchFamily="18" charset="0"/>
              <a:cs typeface="Times New Roman" pitchFamily="18" charset="0"/>
            </a:rPr>
            <a:t>ПЕРЕПРОИЗВОДСТВО</a:t>
          </a:r>
          <a:endParaRPr lang="ru-RU" sz="11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1917603" y="509347"/>
        <a:ext cx="596395" cy="526326"/>
      </dsp:txXfrm>
    </dsp:sp>
    <dsp:sp modelId="{22098D18-BCD3-4421-BA5C-7B6D31E3F6E3}">
      <dsp:nvSpPr>
        <dsp:cNvPr id="0" name=""/>
        <dsp:cNvSpPr/>
      </dsp:nvSpPr>
      <dsp:spPr>
        <a:xfrm rot="18924832">
          <a:off x="2591009" y="1387796"/>
          <a:ext cx="234147" cy="31249"/>
        </a:xfrm>
        <a:custGeom>
          <a:avLst/>
          <a:gdLst/>
          <a:ahLst/>
          <a:cxnLst/>
          <a:rect l="0" t="0" r="0" b="0"/>
          <a:pathLst>
            <a:path>
              <a:moveTo>
                <a:pt x="0" y="15624"/>
              </a:moveTo>
              <a:lnTo>
                <a:pt x="234147" y="15624"/>
              </a:lnTo>
            </a:path>
          </a:pathLst>
        </a:custGeom>
        <a:noFill/>
        <a:ln w="55000" cap="flat" cmpd="thickThin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>
        <a:off x="2702229" y="1397567"/>
        <a:ext cx="11707" cy="11707"/>
      </dsp:txXfrm>
    </dsp:sp>
    <dsp:sp modelId="{C68210B2-EDD5-487D-B3C9-9C2757056786}">
      <dsp:nvSpPr>
        <dsp:cNvPr id="0" name=""/>
        <dsp:cNvSpPr/>
      </dsp:nvSpPr>
      <dsp:spPr>
        <a:xfrm>
          <a:off x="2621672" y="590907"/>
          <a:ext cx="978280" cy="831120"/>
        </a:xfrm>
        <a:prstGeom prst="ellipse">
          <a:avLst/>
        </a:prstGeom>
        <a:gradFill rotWithShape="0">
          <a:gsLst>
            <a:gs pos="0">
              <a:schemeClr val="accent5">
                <a:hueOff val="1119759"/>
                <a:satOff val="1580"/>
                <a:lumOff val="-196"/>
                <a:alphaOff val="0"/>
                <a:shade val="15000"/>
                <a:satMod val="180000"/>
              </a:schemeClr>
            </a:gs>
            <a:gs pos="50000">
              <a:schemeClr val="accent5">
                <a:hueOff val="1119759"/>
                <a:satOff val="1580"/>
                <a:lumOff val="-196"/>
                <a:alphaOff val="0"/>
                <a:shade val="45000"/>
                <a:satMod val="170000"/>
              </a:schemeClr>
            </a:gs>
            <a:gs pos="70000">
              <a:schemeClr val="accent5">
                <a:hueOff val="1119759"/>
                <a:satOff val="1580"/>
                <a:lumOff val="-196"/>
                <a:alphaOff val="0"/>
                <a:tint val="99000"/>
                <a:shade val="65000"/>
                <a:satMod val="155000"/>
              </a:schemeClr>
            </a:gs>
            <a:gs pos="100000">
              <a:schemeClr val="accent5">
                <a:hueOff val="1119759"/>
                <a:satOff val="1580"/>
                <a:lumOff val="-196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5">
              <a:hueOff val="1119759"/>
              <a:satOff val="1580"/>
              <a:lumOff val="-196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latin typeface="Times New Roman" pitchFamily="18" charset="0"/>
              <a:cs typeface="Times New Roman" pitchFamily="18" charset="0"/>
            </a:rPr>
            <a:t>ЛИШНИЕ ДВИЖЕНИЯ</a:t>
          </a:r>
          <a:endParaRPr lang="ru-RU" sz="11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2764938" y="712622"/>
        <a:ext cx="691748" cy="587690"/>
      </dsp:txXfrm>
    </dsp:sp>
    <dsp:sp modelId="{07ECB6A1-4B83-498B-88E0-AEDD4CADAE26}">
      <dsp:nvSpPr>
        <dsp:cNvPr id="0" name=""/>
        <dsp:cNvSpPr/>
      </dsp:nvSpPr>
      <dsp:spPr>
        <a:xfrm rot="31612">
          <a:off x="2742762" y="1762541"/>
          <a:ext cx="169604" cy="31249"/>
        </a:xfrm>
        <a:custGeom>
          <a:avLst/>
          <a:gdLst/>
          <a:ahLst/>
          <a:cxnLst/>
          <a:rect l="0" t="0" r="0" b="0"/>
          <a:pathLst>
            <a:path>
              <a:moveTo>
                <a:pt x="0" y="15624"/>
              </a:moveTo>
              <a:lnTo>
                <a:pt x="169604" y="15624"/>
              </a:lnTo>
            </a:path>
          </a:pathLst>
        </a:custGeom>
        <a:noFill/>
        <a:ln w="55000" cap="flat" cmpd="thickThin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>
        <a:off x="2823325" y="1773925"/>
        <a:ext cx="8480" cy="8480"/>
      </dsp:txXfrm>
    </dsp:sp>
    <dsp:sp modelId="{6F06B028-8CA0-4DBF-BFF2-47770B794E40}">
      <dsp:nvSpPr>
        <dsp:cNvPr id="0" name=""/>
        <dsp:cNvSpPr/>
      </dsp:nvSpPr>
      <dsp:spPr>
        <a:xfrm>
          <a:off x="2912318" y="1421148"/>
          <a:ext cx="1042259" cy="725178"/>
        </a:xfrm>
        <a:prstGeom prst="ellipse">
          <a:avLst/>
        </a:prstGeom>
        <a:gradFill rotWithShape="0">
          <a:gsLst>
            <a:gs pos="0">
              <a:schemeClr val="accent5">
                <a:hueOff val="2239518"/>
                <a:satOff val="3160"/>
                <a:lumOff val="-392"/>
                <a:alphaOff val="0"/>
                <a:shade val="15000"/>
                <a:satMod val="180000"/>
              </a:schemeClr>
            </a:gs>
            <a:gs pos="50000">
              <a:schemeClr val="accent5">
                <a:hueOff val="2239518"/>
                <a:satOff val="3160"/>
                <a:lumOff val="-392"/>
                <a:alphaOff val="0"/>
                <a:shade val="45000"/>
                <a:satMod val="170000"/>
              </a:schemeClr>
            </a:gs>
            <a:gs pos="70000">
              <a:schemeClr val="accent5">
                <a:hueOff val="2239518"/>
                <a:satOff val="3160"/>
                <a:lumOff val="-392"/>
                <a:alphaOff val="0"/>
                <a:tint val="99000"/>
                <a:shade val="65000"/>
                <a:satMod val="155000"/>
              </a:schemeClr>
            </a:gs>
            <a:gs pos="100000">
              <a:schemeClr val="accent5">
                <a:hueOff val="2239518"/>
                <a:satOff val="3160"/>
                <a:lumOff val="-392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5">
              <a:hueOff val="2239518"/>
              <a:satOff val="3160"/>
              <a:lumOff val="-392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latin typeface="Times New Roman" pitchFamily="18" charset="0"/>
              <a:cs typeface="Times New Roman" pitchFamily="18" charset="0"/>
            </a:rPr>
            <a:t>НЕНУЖНАЯ ТРАНСПОРТИРОВКА</a:t>
          </a:r>
          <a:endParaRPr lang="ru-RU" sz="9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3064953" y="1527348"/>
        <a:ext cx="736989" cy="512778"/>
      </dsp:txXfrm>
    </dsp:sp>
    <dsp:sp modelId="{FE4A5776-6681-4B63-869A-782477A6CA44}">
      <dsp:nvSpPr>
        <dsp:cNvPr id="0" name=""/>
        <dsp:cNvSpPr/>
      </dsp:nvSpPr>
      <dsp:spPr>
        <a:xfrm rot="2773698">
          <a:off x="2589230" y="2117743"/>
          <a:ext cx="175851" cy="31249"/>
        </a:xfrm>
        <a:custGeom>
          <a:avLst/>
          <a:gdLst/>
          <a:ahLst/>
          <a:cxnLst/>
          <a:rect l="0" t="0" r="0" b="0"/>
          <a:pathLst>
            <a:path>
              <a:moveTo>
                <a:pt x="0" y="15624"/>
              </a:moveTo>
              <a:lnTo>
                <a:pt x="175851" y="15624"/>
              </a:lnTo>
            </a:path>
          </a:pathLst>
        </a:custGeom>
        <a:noFill/>
        <a:ln w="55000" cap="flat" cmpd="thickThin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>
        <a:off x="2672759" y="2128972"/>
        <a:ext cx="8792" cy="8792"/>
      </dsp:txXfrm>
    </dsp:sp>
    <dsp:sp modelId="{87548BD7-96FA-481B-9A11-3D9A383E1E22}">
      <dsp:nvSpPr>
        <dsp:cNvPr id="0" name=""/>
        <dsp:cNvSpPr/>
      </dsp:nvSpPr>
      <dsp:spPr>
        <a:xfrm>
          <a:off x="2584123" y="2096794"/>
          <a:ext cx="896109" cy="814307"/>
        </a:xfrm>
        <a:prstGeom prst="ellipse">
          <a:avLst/>
        </a:prstGeom>
        <a:gradFill rotWithShape="0">
          <a:gsLst>
            <a:gs pos="0">
              <a:schemeClr val="accent5">
                <a:hueOff val="3359277"/>
                <a:satOff val="4740"/>
                <a:lumOff val="-588"/>
                <a:alphaOff val="0"/>
                <a:shade val="15000"/>
                <a:satMod val="180000"/>
              </a:schemeClr>
            </a:gs>
            <a:gs pos="50000">
              <a:schemeClr val="accent5">
                <a:hueOff val="3359277"/>
                <a:satOff val="4740"/>
                <a:lumOff val="-588"/>
                <a:alphaOff val="0"/>
                <a:shade val="45000"/>
                <a:satMod val="170000"/>
              </a:schemeClr>
            </a:gs>
            <a:gs pos="70000">
              <a:schemeClr val="accent5">
                <a:hueOff val="3359277"/>
                <a:satOff val="4740"/>
                <a:lumOff val="-588"/>
                <a:alphaOff val="0"/>
                <a:tint val="99000"/>
                <a:shade val="65000"/>
                <a:satMod val="155000"/>
              </a:schemeClr>
            </a:gs>
            <a:gs pos="100000">
              <a:schemeClr val="accent5">
                <a:hueOff val="3359277"/>
                <a:satOff val="4740"/>
                <a:lumOff val="-588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5">
              <a:hueOff val="3359277"/>
              <a:satOff val="4740"/>
              <a:lumOff val="-588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latin typeface="Times New Roman" pitchFamily="18" charset="0"/>
              <a:cs typeface="Times New Roman" pitchFamily="18" charset="0"/>
            </a:rPr>
            <a:t>ИЗЛИШНИЕ ЗАПАСЫ</a:t>
          </a:r>
          <a:endParaRPr lang="ru-RU" sz="11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2715355" y="2216046"/>
        <a:ext cx="633645" cy="575803"/>
      </dsp:txXfrm>
    </dsp:sp>
    <dsp:sp modelId="{91555797-2B28-4B5F-B7FB-A3A0F09AA743}">
      <dsp:nvSpPr>
        <dsp:cNvPr id="0" name=""/>
        <dsp:cNvSpPr/>
      </dsp:nvSpPr>
      <dsp:spPr>
        <a:xfrm rot="6871577">
          <a:off x="2108890" y="2165516"/>
          <a:ext cx="75331" cy="31249"/>
        </a:xfrm>
        <a:custGeom>
          <a:avLst/>
          <a:gdLst/>
          <a:ahLst/>
          <a:cxnLst/>
          <a:rect l="0" t="0" r="0" b="0"/>
          <a:pathLst>
            <a:path>
              <a:moveTo>
                <a:pt x="0" y="15624"/>
              </a:moveTo>
              <a:lnTo>
                <a:pt x="75331" y="15624"/>
              </a:lnTo>
            </a:path>
          </a:pathLst>
        </a:custGeom>
        <a:noFill/>
        <a:ln w="55000" cap="flat" cmpd="thickThin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 rot="10800000">
        <a:off x="2144673" y="2179258"/>
        <a:ext cx="3766" cy="3766"/>
      </dsp:txXfrm>
    </dsp:sp>
    <dsp:sp modelId="{79E942B3-2C0B-4DE1-BCA6-E225FEE59E11}">
      <dsp:nvSpPr>
        <dsp:cNvPr id="0" name=""/>
        <dsp:cNvSpPr/>
      </dsp:nvSpPr>
      <dsp:spPr>
        <a:xfrm>
          <a:off x="1404433" y="2194982"/>
          <a:ext cx="1105064" cy="803344"/>
        </a:xfrm>
        <a:prstGeom prst="ellipse">
          <a:avLst/>
        </a:prstGeom>
        <a:gradFill rotWithShape="0">
          <a:gsLst>
            <a:gs pos="0">
              <a:schemeClr val="accent5">
                <a:hueOff val="4479036"/>
                <a:satOff val="6319"/>
                <a:lumOff val="-784"/>
                <a:alphaOff val="0"/>
                <a:shade val="15000"/>
                <a:satMod val="180000"/>
              </a:schemeClr>
            </a:gs>
            <a:gs pos="50000">
              <a:schemeClr val="accent5">
                <a:hueOff val="4479036"/>
                <a:satOff val="6319"/>
                <a:lumOff val="-784"/>
                <a:alphaOff val="0"/>
                <a:shade val="45000"/>
                <a:satMod val="170000"/>
              </a:schemeClr>
            </a:gs>
            <a:gs pos="70000">
              <a:schemeClr val="accent5">
                <a:hueOff val="4479036"/>
                <a:satOff val="6319"/>
                <a:lumOff val="-784"/>
                <a:alphaOff val="0"/>
                <a:tint val="99000"/>
                <a:shade val="65000"/>
                <a:satMod val="155000"/>
              </a:schemeClr>
            </a:gs>
            <a:gs pos="100000">
              <a:schemeClr val="accent5">
                <a:hueOff val="4479036"/>
                <a:satOff val="6319"/>
                <a:lumOff val="-784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5">
              <a:hueOff val="4479036"/>
              <a:satOff val="6319"/>
              <a:lumOff val="-784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latin typeface="Times New Roman" pitchFamily="18" charset="0"/>
              <a:cs typeface="Times New Roman" pitchFamily="18" charset="0"/>
            </a:rPr>
            <a:t>ИЗБЫТОЧНАЯ</a:t>
          </a:r>
          <a:r>
            <a:rPr lang="ru-RU" sz="500" kern="1200" dirty="0" smtClean="0"/>
            <a:t> </a:t>
          </a:r>
          <a:r>
            <a:rPr lang="ru-RU" sz="1100" kern="1200" dirty="0" smtClean="0">
              <a:latin typeface="Times New Roman" pitchFamily="18" charset="0"/>
              <a:cs typeface="Times New Roman" pitchFamily="18" charset="0"/>
            </a:rPr>
            <a:t>ОБРАБОТКА</a:t>
          </a:r>
          <a:endParaRPr lang="ru-RU" sz="11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1566266" y="2312629"/>
        <a:ext cx="781398" cy="568050"/>
      </dsp:txXfrm>
    </dsp:sp>
    <dsp:sp modelId="{EBCD403F-A8A8-4B92-85FF-7E91A1632CC9}">
      <dsp:nvSpPr>
        <dsp:cNvPr id="0" name=""/>
        <dsp:cNvSpPr/>
      </dsp:nvSpPr>
      <dsp:spPr>
        <a:xfrm rot="10660807">
          <a:off x="1710355" y="1778892"/>
          <a:ext cx="212291" cy="31249"/>
        </a:xfrm>
        <a:custGeom>
          <a:avLst/>
          <a:gdLst/>
          <a:ahLst/>
          <a:cxnLst/>
          <a:rect l="0" t="0" r="0" b="0"/>
          <a:pathLst>
            <a:path>
              <a:moveTo>
                <a:pt x="0" y="15624"/>
              </a:moveTo>
              <a:lnTo>
                <a:pt x="212291" y="15624"/>
              </a:lnTo>
            </a:path>
          </a:pathLst>
        </a:custGeom>
        <a:noFill/>
        <a:ln w="55000" cap="flat" cmpd="thickThin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 rot="10800000">
        <a:off x="1811193" y="1789210"/>
        <a:ext cx="10614" cy="10614"/>
      </dsp:txXfrm>
    </dsp:sp>
    <dsp:sp modelId="{0B125BCC-3AEF-45C2-9E2A-28DA0075BC73}">
      <dsp:nvSpPr>
        <dsp:cNvPr id="0" name=""/>
        <dsp:cNvSpPr/>
      </dsp:nvSpPr>
      <dsp:spPr>
        <a:xfrm>
          <a:off x="825349" y="1406454"/>
          <a:ext cx="885515" cy="820560"/>
        </a:xfrm>
        <a:prstGeom prst="ellipse">
          <a:avLst/>
        </a:prstGeom>
        <a:gradFill rotWithShape="0">
          <a:gsLst>
            <a:gs pos="0">
              <a:schemeClr val="accent5">
                <a:hueOff val="5598794"/>
                <a:satOff val="7899"/>
                <a:lumOff val="-980"/>
                <a:alphaOff val="0"/>
                <a:shade val="15000"/>
                <a:satMod val="180000"/>
              </a:schemeClr>
            </a:gs>
            <a:gs pos="50000">
              <a:schemeClr val="accent5">
                <a:hueOff val="5598794"/>
                <a:satOff val="7899"/>
                <a:lumOff val="-980"/>
                <a:alphaOff val="0"/>
                <a:shade val="45000"/>
                <a:satMod val="170000"/>
              </a:schemeClr>
            </a:gs>
            <a:gs pos="70000">
              <a:schemeClr val="accent5">
                <a:hueOff val="5598794"/>
                <a:satOff val="7899"/>
                <a:lumOff val="-98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5">
                <a:hueOff val="5598794"/>
                <a:satOff val="7899"/>
                <a:lumOff val="-98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5">
              <a:hueOff val="5598794"/>
              <a:satOff val="7899"/>
              <a:lumOff val="-980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latin typeface="Times New Roman" pitchFamily="18" charset="0"/>
              <a:cs typeface="Times New Roman" pitchFamily="18" charset="0"/>
            </a:rPr>
            <a:t>ОЖИДАНИЕ</a:t>
          </a:r>
          <a:endParaRPr lang="ru-RU" sz="11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955030" y="1526622"/>
        <a:ext cx="626153" cy="580224"/>
      </dsp:txXfrm>
    </dsp:sp>
    <dsp:sp modelId="{C33C54CA-6688-4C0D-A599-E823666182B3}">
      <dsp:nvSpPr>
        <dsp:cNvPr id="0" name=""/>
        <dsp:cNvSpPr/>
      </dsp:nvSpPr>
      <dsp:spPr>
        <a:xfrm rot="13161909">
          <a:off x="1616989" y="1355282"/>
          <a:ext cx="449285" cy="31249"/>
        </a:xfrm>
        <a:custGeom>
          <a:avLst/>
          <a:gdLst/>
          <a:ahLst/>
          <a:cxnLst/>
          <a:rect l="0" t="0" r="0" b="0"/>
          <a:pathLst>
            <a:path>
              <a:moveTo>
                <a:pt x="0" y="15624"/>
              </a:moveTo>
              <a:lnTo>
                <a:pt x="449285" y="15624"/>
              </a:lnTo>
            </a:path>
          </a:pathLst>
        </a:custGeom>
        <a:noFill/>
        <a:ln w="55000" cap="flat" cmpd="thickThin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 rot="10800000">
        <a:off x="1830400" y="1359674"/>
        <a:ext cx="22464" cy="22464"/>
      </dsp:txXfrm>
    </dsp:sp>
    <dsp:sp modelId="{0AFECC6A-4356-4349-A30D-D6E7F87E48DC}">
      <dsp:nvSpPr>
        <dsp:cNvPr id="0" name=""/>
        <dsp:cNvSpPr/>
      </dsp:nvSpPr>
      <dsp:spPr>
        <a:xfrm>
          <a:off x="896784" y="549199"/>
          <a:ext cx="882102" cy="816793"/>
        </a:xfrm>
        <a:prstGeom prst="ellipse">
          <a:avLst/>
        </a:prstGeom>
        <a:gradFill rotWithShape="0">
          <a:gsLst>
            <a:gs pos="0">
              <a:schemeClr val="accent5">
                <a:hueOff val="6718553"/>
                <a:satOff val="9479"/>
                <a:lumOff val="-1176"/>
                <a:alphaOff val="0"/>
                <a:shade val="15000"/>
                <a:satMod val="180000"/>
              </a:schemeClr>
            </a:gs>
            <a:gs pos="50000">
              <a:schemeClr val="accent5">
                <a:hueOff val="6718553"/>
                <a:satOff val="9479"/>
                <a:lumOff val="-1176"/>
                <a:alphaOff val="0"/>
                <a:shade val="45000"/>
                <a:satMod val="170000"/>
              </a:schemeClr>
            </a:gs>
            <a:gs pos="70000">
              <a:schemeClr val="accent5">
                <a:hueOff val="6718553"/>
                <a:satOff val="9479"/>
                <a:lumOff val="-1176"/>
                <a:alphaOff val="0"/>
                <a:tint val="99000"/>
                <a:shade val="65000"/>
                <a:satMod val="155000"/>
              </a:schemeClr>
            </a:gs>
            <a:gs pos="100000">
              <a:schemeClr val="accent5">
                <a:hueOff val="6718553"/>
                <a:satOff val="9479"/>
                <a:lumOff val="-1176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5">
              <a:hueOff val="6718553"/>
              <a:satOff val="9479"/>
              <a:lumOff val="-1176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latin typeface="Times New Roman" pitchFamily="18" charset="0"/>
              <a:cs typeface="Times New Roman" pitchFamily="18" charset="0"/>
            </a:rPr>
            <a:t>ПЕРЕДЕЛКА, БРАК</a:t>
          </a:r>
          <a:endParaRPr lang="ru-RU" sz="11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1025965" y="668816"/>
        <a:ext cx="623740" cy="57755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F2194A-38A2-4D5E-AA0E-8F9A58F96961}" type="datetimeFigureOut">
              <a:rPr lang="ru-RU" smtClean="0"/>
              <a:pPr/>
              <a:t>07.08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771E55-FD2C-4F76-81B6-00CC19283C8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616007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782544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ый треугольник 9"/>
          <p:cNvSpPr/>
          <p:nvPr/>
        </p:nvSpPr>
        <p:spPr>
          <a:xfrm>
            <a:off x="-2" y="4664147"/>
            <a:ext cx="9151089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685800" y="1752601"/>
            <a:ext cx="7772400" cy="1829761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685800" y="3611607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grpSp>
        <p:nvGrpSpPr>
          <p:cNvPr id="2" name="Группа 1"/>
          <p:cNvGrpSpPr/>
          <p:nvPr/>
        </p:nvGrpSpPr>
        <p:grpSpPr>
          <a:xfrm>
            <a:off x="-3765" y="4953000"/>
            <a:ext cx="9147765" cy="1912088"/>
            <a:chOff x="-3765" y="4832896"/>
            <a:chExt cx="9147765" cy="2032192"/>
          </a:xfrm>
        </p:grpSpPr>
        <p:sp>
          <p:nvSpPr>
            <p:cNvPr id="7" name="Полилиния 6"/>
            <p:cNvSpPr>
              <a:spLocks/>
            </p:cNvSpPr>
            <p:nvPr/>
          </p:nvSpPr>
          <p:spPr bwMode="auto">
            <a:xfrm>
              <a:off x="1687513" y="4832896"/>
              <a:ext cx="7456487" cy="51881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  <p:sp>
          <p:nvSpPr>
            <p:cNvPr id="8" name="Полилиния 7"/>
            <p:cNvSpPr>
              <a:spLocks/>
            </p:cNvSpPr>
            <p:nvPr/>
          </p:nvSpPr>
          <p:spPr bwMode="auto">
            <a:xfrm>
              <a:off x="35443" y="5135526"/>
              <a:ext cx="9108557" cy="838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>
                <a:alpha val="10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  <p:sp>
          <p:nvSpPr>
            <p:cNvPr id="11" name="Полилиния 10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 cstate="print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anchor="ctr" compatLnSpc="1"/>
            <a:lstStyle/>
            <a:p>
              <a:pPr algn="ctr" eaLnBrk="1" latinLnBrk="0" hangingPunct="1"/>
              <a:endParaRPr kumimoji="0" lang="en-US"/>
            </a:p>
          </p:txBody>
        </p:sp>
        <p:cxnSp>
          <p:nvCxnSpPr>
            <p:cNvPr id="12" name="Прямая соединительная линия 11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Дата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5B106E36-FD25-4E2D-B0AA-010F637433A0}" type="datetimeFigureOut">
              <a:rPr lang="ru-RU" smtClean="0"/>
              <a:pPr/>
              <a:t>07.08.2020</a:t>
            </a:fld>
            <a:endParaRPr lang="ru-RU"/>
          </a:p>
        </p:txBody>
      </p:sp>
      <p:sp>
        <p:nvSpPr>
          <p:cNvPr id="19" name="Нижний колонтитул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tint val="20000"/>
                  </a:schemeClr>
                </a:solidFill>
              </a:defRPr>
            </a:lvl1pPr>
            <a:extLst/>
          </a:lstStyle>
          <a:p>
            <a:endParaRPr lang="ru-RU"/>
          </a:p>
        </p:txBody>
      </p:sp>
      <p:sp>
        <p:nvSpPr>
          <p:cNvPr id="27" name="Номер слайда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481329"/>
            <a:ext cx="8229600" cy="4386071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8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44013" y="274640"/>
            <a:ext cx="1777470" cy="5592761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324600" cy="5592760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8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5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3"/>
            <a:ext cx="6817285" cy="1261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423818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ый треугольник 9"/>
          <p:cNvSpPr/>
          <p:nvPr/>
        </p:nvSpPr>
        <p:spPr>
          <a:xfrm>
            <a:off x="-2" y="4664147"/>
            <a:ext cx="9151089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685800" y="1752601"/>
            <a:ext cx="7772400" cy="1829761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685800" y="3611607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grpSp>
        <p:nvGrpSpPr>
          <p:cNvPr id="2" name="Группа 1"/>
          <p:cNvGrpSpPr/>
          <p:nvPr/>
        </p:nvGrpSpPr>
        <p:grpSpPr>
          <a:xfrm>
            <a:off x="-3765" y="4953000"/>
            <a:ext cx="9147765" cy="1912088"/>
            <a:chOff x="-3765" y="4832896"/>
            <a:chExt cx="9147765" cy="2032192"/>
          </a:xfrm>
        </p:grpSpPr>
        <p:sp>
          <p:nvSpPr>
            <p:cNvPr id="7" name="Полилиния 6"/>
            <p:cNvSpPr>
              <a:spLocks/>
            </p:cNvSpPr>
            <p:nvPr/>
          </p:nvSpPr>
          <p:spPr bwMode="auto">
            <a:xfrm>
              <a:off x="1687513" y="4832896"/>
              <a:ext cx="7456487" cy="51881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" name="Полилиния 7"/>
            <p:cNvSpPr>
              <a:spLocks/>
            </p:cNvSpPr>
            <p:nvPr/>
          </p:nvSpPr>
          <p:spPr bwMode="auto">
            <a:xfrm>
              <a:off x="35443" y="5135526"/>
              <a:ext cx="9108557" cy="838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>
                <a:alpha val="10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" name="Полилиния 10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 cstate="print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anchor="ctr" compatLnSpc="1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cxnSp>
          <p:nvCxnSpPr>
            <p:cNvPr id="12" name="Прямая соединительная линия 11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Дата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5B106E36-FD25-4E2D-B0AA-010F637433A0}" type="datetimeFigureOut">
              <a:rPr lang="ru-RU" smtClean="0"/>
              <a:pPr/>
              <a:t>07.08.2020</a:t>
            </a:fld>
            <a:endParaRPr lang="ru-RU"/>
          </a:p>
        </p:txBody>
      </p:sp>
      <p:sp>
        <p:nvSpPr>
          <p:cNvPr id="19" name="Нижний колонтитул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tint val="20000"/>
                  </a:schemeClr>
                </a:solidFill>
              </a:defRPr>
            </a:lvl1pPr>
            <a:extLst/>
          </a:lstStyle>
          <a:p>
            <a:endParaRPr lang="ru-RU">
              <a:solidFill>
                <a:srgbClr val="2DA2BF">
                  <a:tint val="20000"/>
                </a:srgbClr>
              </a:solidFill>
            </a:endParaRPr>
          </a:p>
        </p:txBody>
      </p:sp>
      <p:sp>
        <p:nvSpPr>
          <p:cNvPr id="27" name="Номер слайда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28966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/>
                </a:solidFill>
              </a:rPr>
              <a:pPr/>
              <a:t>07.08.2020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xmlns="" val="40698620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76" y="1059712"/>
            <a:ext cx="7772400" cy="1828800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buNone/>
              <a:defRPr sz="4800" b="1" cap="none" baseline="0"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922713" y="2931712"/>
            <a:ext cx="4572000" cy="1454888"/>
          </a:xfrm>
        </p:spPr>
        <p:txBody>
          <a:bodyPr lIns="91440" rIns="91440" anchor="t"/>
          <a:lstStyle>
            <a:lvl1pPr marL="0" indent="0" algn="l">
              <a:buNone/>
              <a:defRPr sz="23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white"/>
                </a:solidFill>
              </a:rPr>
              <a:pPr/>
              <a:t>07.08.2020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7" name="Нашивка 6"/>
          <p:cNvSpPr/>
          <p:nvPr/>
        </p:nvSpPr>
        <p:spPr>
          <a:xfrm>
            <a:off x="3636680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Нашивка 7"/>
          <p:cNvSpPr/>
          <p:nvPr/>
        </p:nvSpPr>
        <p:spPr>
          <a:xfrm>
            <a:off x="3450264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254432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white"/>
                </a:solidFill>
              </a:rPr>
              <a:pPr/>
              <a:t>07.08.2020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xmlns="" val="13287573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 anchor="ctr"/>
          <a:lstStyle>
            <a:lvl1pPr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5410200"/>
            <a:ext cx="4040188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45026" y="5410200"/>
            <a:ext cx="4041775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457200" y="1444294"/>
            <a:ext cx="4040188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1444294"/>
            <a:ext cx="4041775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spcBef>
                <a:spcPts val="0"/>
              </a:spcBef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/>
                </a:solidFill>
              </a:rPr>
              <a:pPr/>
              <a:t>07.08.2020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020382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white"/>
                </a:solidFill>
              </a:rPr>
              <a:pPr/>
              <a:t>07.08.2020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xmlns="" val="1845408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/>
                </a:solidFill>
              </a:rPr>
              <a:pPr/>
              <a:t>07.08.2020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610396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8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4876800"/>
            <a:ext cx="7481776" cy="457200"/>
          </a:xfrm>
        </p:spPr>
        <p:txBody>
          <a:bodyPr vert="horz" anchor="t">
            <a:noAutofit/>
            <a:sp3d prstMaterial="softEdge">
              <a:bevelT w="0" h="0"/>
            </a:sp3d>
          </a:bodyPr>
          <a:lstStyle>
            <a:lvl1pPr algn="r">
              <a:buNone/>
              <a:defRPr sz="2500" b="0">
                <a:solidFill>
                  <a:schemeClr val="accent1"/>
                </a:solidFill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419600" y="5355102"/>
            <a:ext cx="3974592" cy="914400"/>
          </a:xfrm>
        </p:spPr>
        <p:txBody>
          <a:bodyPr/>
          <a:lstStyle>
            <a:lvl1pPr marL="0" indent="0" algn="r">
              <a:buNone/>
              <a:defRPr sz="16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914400" y="274320"/>
            <a:ext cx="7479792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727032" y="6407944"/>
            <a:ext cx="1920240" cy="365760"/>
          </a:xfrm>
        </p:spPr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/>
                </a:solidFill>
              </a:rPr>
              <a:pPr/>
              <a:t>07.08.2020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792763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41232" y="5443402"/>
            <a:ext cx="7162800" cy="648232"/>
          </a:xfrm>
          <a:noFill/>
        </p:spPr>
        <p:txBody>
          <a:bodyPr lIns="91440" tIns="0" rIns="91440" anchor="t"/>
          <a:lstStyle>
            <a:lvl1pPr marL="0" marR="18288" indent="0" algn="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28600" y="189968"/>
            <a:ext cx="8686800" cy="4389120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  <a:effectLst>
            <a:innerShdw blurRad="95250">
              <a:srgbClr val="000000"/>
            </a:innerShdw>
          </a:effectLst>
        </p:spPr>
        <p:txBody>
          <a:bodyPr/>
          <a:lstStyle>
            <a:lvl1pPr marL="0" indent="0">
              <a:buNone/>
              <a:defRPr sz="3200"/>
            </a:lvl1pPr>
            <a:extLst/>
          </a:lstStyle>
          <a:p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5B106E36-FD25-4E2D-B0AA-010F637433A0}" type="datetimeFigureOut">
              <a:rPr lang="ru-RU" smtClean="0">
                <a:solidFill>
                  <a:prstClr val="white"/>
                </a:solidFill>
              </a:rPr>
              <a:pPr/>
              <a:t>07.08.2020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380072" y="6407944"/>
            <a:ext cx="2350681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endParaRPr lang="ru-RU">
              <a:solidFill>
                <a:prstClr val="white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725C68B6-61C2-468F-89AB-4B9F7531AA68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8600" y="4865122"/>
            <a:ext cx="8075432" cy="562672"/>
          </a:xfrm>
          <a:noFill/>
        </p:spPr>
        <p:txBody>
          <a:bodyPr anchor="t">
            <a:sp3d prstMaterial="softEdge"/>
          </a:bodyPr>
          <a:lstStyle>
            <a:lvl1pPr marR="0" algn="r">
              <a:buNone/>
              <a:defRPr sz="3000" b="0">
                <a:solidFill>
                  <a:schemeClr val="accent1"/>
                </a:solidFill>
                <a:effectLst>
                  <a:outerShdw blurRad="50800" dist="25000" dir="5400000" algn="t" rotWithShape="0">
                    <a:prstClr val="black">
                      <a:alpha val="45000"/>
                    </a:prstClr>
                  </a:outerShdw>
                </a:effectLst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8" name="Полилиния 7"/>
          <p:cNvSpPr>
            <a:spLocks/>
          </p:cNvSpPr>
          <p:nvPr/>
        </p:nvSpPr>
        <p:spPr bwMode="auto">
          <a:xfrm>
            <a:off x="716436" y="5001993"/>
            <a:ext cx="3802003" cy="144311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-329" y="347"/>
                </a:moveTo>
                <a:lnTo>
                  <a:pt x="7156" y="682"/>
                </a:lnTo>
                <a:lnTo>
                  <a:pt x="5229" y="682"/>
                </a:lnTo>
                <a:lnTo>
                  <a:pt x="-328" y="345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Полилиния 8"/>
          <p:cNvSpPr>
            <a:spLocks/>
          </p:cNvSpPr>
          <p:nvPr/>
        </p:nvSpPr>
        <p:spPr bwMode="auto">
          <a:xfrm>
            <a:off x="-53561" y="5785023"/>
            <a:ext cx="3802003" cy="8382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817" y="97"/>
                </a:moveTo>
                <a:lnTo>
                  <a:pt x="6408" y="682"/>
                </a:lnTo>
                <a:lnTo>
                  <a:pt x="5232" y="685"/>
                </a:lnTo>
                <a:lnTo>
                  <a:pt x="829" y="101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Прямоугольный треугольник 9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2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Нашивка 11"/>
          <p:cNvSpPr/>
          <p:nvPr/>
        </p:nvSpPr>
        <p:spPr>
          <a:xfrm>
            <a:off x="8664112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Нашивка 12"/>
          <p:cNvSpPr/>
          <p:nvPr/>
        </p:nvSpPr>
        <p:spPr>
          <a:xfrm>
            <a:off x="8477696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78534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481329"/>
            <a:ext cx="8229600" cy="4386071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/>
                </a:solidFill>
              </a:rPr>
              <a:pPr/>
              <a:t>07.08.2020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281358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44013" y="274640"/>
            <a:ext cx="1777470" cy="5592761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324600" cy="5592760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/>
                </a:solidFill>
              </a:rPr>
              <a:pPr/>
              <a:t>07.08.2020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230167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5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3"/>
            <a:ext cx="6817285" cy="1261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561883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1256112"/>
          </a:xfrm>
        </p:spPr>
        <p:txBody>
          <a:bodyPr lIns="93296" tIns="46648" rIns="93296" bIns="46648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687638" y="6826800"/>
            <a:ext cx="176123" cy="1332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72600">
              <a:defRPr/>
            </a:pPr>
            <a:r>
              <a:rPr lang="en-US" sz="800" dirty="0">
                <a:solidFill>
                  <a:srgbClr val="414142"/>
                </a:solidFill>
                <a:latin typeface="Arial"/>
              </a:rPr>
              <a:t>‹#›</a:t>
            </a:r>
          </a:p>
          <a:p>
            <a:pPr algn="r" defTabSz="872600">
              <a:defRPr/>
            </a:pPr>
            <a:endParaRPr lang="en-US" sz="800" dirty="0">
              <a:solidFill>
                <a:srgbClr val="414142"/>
              </a:solidFill>
              <a:latin typeface="Arial"/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1"/>
            <a:ext cx="6817285" cy="1261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34" name="Slide Number"/>
          <p:cNvSpPr txBox="1">
            <a:spLocks/>
          </p:cNvSpPr>
          <p:nvPr userDrawn="1"/>
        </p:nvSpPr>
        <p:spPr>
          <a:xfrm>
            <a:off x="8719604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303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91430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706111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76" y="1059712"/>
            <a:ext cx="7772400" cy="1828800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buNone/>
              <a:defRPr sz="4800" b="1" cap="none" baseline="0"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922713" y="2931712"/>
            <a:ext cx="4572000" cy="1454888"/>
          </a:xfrm>
        </p:spPr>
        <p:txBody>
          <a:bodyPr lIns="91440" rIns="91440" anchor="t"/>
          <a:lstStyle>
            <a:lvl1pPr marL="0" indent="0" algn="l">
              <a:buNone/>
              <a:defRPr sz="23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8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Нашивка 6"/>
          <p:cNvSpPr/>
          <p:nvPr/>
        </p:nvSpPr>
        <p:spPr>
          <a:xfrm>
            <a:off x="3636680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eaLnBrk="1" latinLnBrk="0" hangingPunct="1"/>
            <a:endParaRPr kumimoji="0" lang="en-US"/>
          </a:p>
        </p:txBody>
      </p:sp>
      <p:sp>
        <p:nvSpPr>
          <p:cNvPr id="8" name="Нашивка 7"/>
          <p:cNvSpPr/>
          <p:nvPr/>
        </p:nvSpPr>
        <p:spPr>
          <a:xfrm>
            <a:off x="3450264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8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 anchor="ctr"/>
          <a:lstStyle>
            <a:lvl1pPr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5410200"/>
            <a:ext cx="4040188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45026" y="5410200"/>
            <a:ext cx="4041775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457200" y="1444294"/>
            <a:ext cx="4040188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1444294"/>
            <a:ext cx="4041775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spcBef>
                <a:spcPts val="0"/>
              </a:spcBef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8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8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7.08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4876800"/>
            <a:ext cx="7481776" cy="457200"/>
          </a:xfrm>
        </p:spPr>
        <p:txBody>
          <a:bodyPr vert="horz" anchor="t">
            <a:noAutofit/>
            <a:sp3d prstMaterial="softEdge">
              <a:bevelT w="0" h="0"/>
            </a:sp3d>
          </a:bodyPr>
          <a:lstStyle>
            <a:lvl1pPr algn="r">
              <a:buNone/>
              <a:defRPr sz="2500" b="0">
                <a:solidFill>
                  <a:schemeClr val="accent1"/>
                </a:solidFill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419600" y="5355102"/>
            <a:ext cx="3974592" cy="914400"/>
          </a:xfrm>
        </p:spPr>
        <p:txBody>
          <a:bodyPr/>
          <a:lstStyle>
            <a:lvl1pPr marL="0" indent="0" algn="r">
              <a:buNone/>
              <a:defRPr sz="16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914400" y="274320"/>
            <a:ext cx="7479792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727032" y="6407944"/>
            <a:ext cx="1920240" cy="365760"/>
          </a:xfrm>
        </p:spPr>
        <p:txBody>
          <a:bodyPr/>
          <a:lstStyle/>
          <a:p>
            <a:fld id="{5B106E36-FD25-4E2D-B0AA-010F637433A0}" type="datetimeFigureOut">
              <a:rPr lang="ru-RU" smtClean="0"/>
              <a:pPr/>
              <a:t>07.08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41232" y="5443402"/>
            <a:ext cx="7162800" cy="648232"/>
          </a:xfrm>
          <a:noFill/>
        </p:spPr>
        <p:txBody>
          <a:bodyPr lIns="91440" tIns="0" rIns="91440" anchor="t"/>
          <a:lstStyle>
            <a:lvl1pPr marL="0" marR="18288" indent="0" algn="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28600" y="189968"/>
            <a:ext cx="8686800" cy="4389120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  <a:effectLst>
            <a:innerShdw blurRad="95250">
              <a:srgbClr val="000000"/>
            </a:innerShdw>
          </a:effectLst>
        </p:spPr>
        <p:txBody>
          <a:bodyPr/>
          <a:lstStyle>
            <a:lvl1pPr marL="0" indent="0">
              <a:buNone/>
              <a:defRPr sz="3200"/>
            </a:lvl1pPr>
            <a:extLst/>
          </a:lstStyle>
          <a:p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5B106E36-FD25-4E2D-B0AA-010F637433A0}" type="datetimeFigureOut">
              <a:rPr lang="ru-RU" smtClean="0"/>
              <a:pPr/>
              <a:t>07.08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380072" y="6407944"/>
            <a:ext cx="2350681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8600" y="4865122"/>
            <a:ext cx="8075432" cy="562672"/>
          </a:xfrm>
          <a:noFill/>
        </p:spPr>
        <p:txBody>
          <a:bodyPr anchor="t">
            <a:sp3d prstMaterial="softEdge"/>
          </a:bodyPr>
          <a:lstStyle>
            <a:lvl1pPr marR="0" algn="r">
              <a:buNone/>
              <a:defRPr sz="3000" b="0">
                <a:solidFill>
                  <a:schemeClr val="accent1"/>
                </a:solidFill>
                <a:effectLst>
                  <a:outerShdw blurRad="50800" dist="25000" dir="5400000" algn="t" rotWithShape="0">
                    <a:prstClr val="black">
                      <a:alpha val="45000"/>
                    </a:prstClr>
                  </a:outerShdw>
                </a:effectLst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8" name="Полилиния 7"/>
          <p:cNvSpPr>
            <a:spLocks/>
          </p:cNvSpPr>
          <p:nvPr/>
        </p:nvSpPr>
        <p:spPr bwMode="auto">
          <a:xfrm>
            <a:off x="716436" y="5001993"/>
            <a:ext cx="3802003" cy="144311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-329" y="347"/>
                </a:moveTo>
                <a:lnTo>
                  <a:pt x="7156" y="682"/>
                </a:lnTo>
                <a:lnTo>
                  <a:pt x="5229" y="682"/>
                </a:lnTo>
                <a:lnTo>
                  <a:pt x="-328" y="345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9" name="Полилиния 8"/>
          <p:cNvSpPr>
            <a:spLocks/>
          </p:cNvSpPr>
          <p:nvPr/>
        </p:nvSpPr>
        <p:spPr bwMode="auto">
          <a:xfrm>
            <a:off x="-53561" y="5785023"/>
            <a:ext cx="3802003" cy="8382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817" y="97"/>
                </a:moveTo>
                <a:lnTo>
                  <a:pt x="6408" y="682"/>
                </a:lnTo>
                <a:lnTo>
                  <a:pt x="5232" y="685"/>
                </a:lnTo>
                <a:lnTo>
                  <a:pt x="829" y="101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0" name="Прямоугольный треугольник 9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2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/>
          <a:p>
            <a:pPr algn="ctr" eaLnBrk="1" latinLnBrk="0" hangingPunct="1"/>
            <a:endParaRPr kumimoji="0" lang="en-US"/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Нашивка 11"/>
          <p:cNvSpPr/>
          <p:nvPr/>
        </p:nvSpPr>
        <p:spPr>
          <a:xfrm>
            <a:off x="8664112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eaLnBrk="1" latinLnBrk="0" hangingPunct="1"/>
            <a:endParaRPr kumimoji="0" lang="en-US"/>
          </a:p>
        </p:txBody>
      </p:sp>
      <p:sp>
        <p:nvSpPr>
          <p:cNvPr id="13" name="Нашивка 12"/>
          <p:cNvSpPr/>
          <p:nvPr/>
        </p:nvSpPr>
        <p:spPr>
          <a:xfrm>
            <a:off x="8477696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олилиния 12"/>
          <p:cNvSpPr>
            <a:spLocks/>
          </p:cNvSpPr>
          <p:nvPr/>
        </p:nvSpPr>
        <p:spPr bwMode="auto">
          <a:xfrm>
            <a:off x="716436" y="5001993"/>
            <a:ext cx="3802003" cy="144311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-329" y="347"/>
                </a:moveTo>
                <a:lnTo>
                  <a:pt x="7156" y="682"/>
                </a:lnTo>
                <a:lnTo>
                  <a:pt x="5229" y="682"/>
                </a:lnTo>
                <a:lnTo>
                  <a:pt x="-328" y="345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2" name="Полилиния 11"/>
          <p:cNvSpPr>
            <a:spLocks/>
          </p:cNvSpPr>
          <p:nvPr/>
        </p:nvSpPr>
        <p:spPr bwMode="auto">
          <a:xfrm>
            <a:off x="-53561" y="5785023"/>
            <a:ext cx="3802003" cy="8382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817" y="97"/>
                </a:moveTo>
                <a:lnTo>
                  <a:pt x="6408" y="682"/>
                </a:lnTo>
                <a:lnTo>
                  <a:pt x="5232" y="685"/>
                </a:lnTo>
                <a:lnTo>
                  <a:pt x="829" y="101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4" name="Прямоугольный треугольник 13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14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/>
          <a:p>
            <a:pPr algn="ctr" eaLnBrk="1" latinLnBrk="0" hangingPunct="1"/>
            <a:endParaRPr kumimoji="0" lang="en-US"/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0" name="Текст 29"/>
          <p:cNvSpPr>
            <a:spLocks noGrp="1"/>
          </p:cNvSpPr>
          <p:nvPr>
            <p:ph type="body" idx="1"/>
          </p:nvPr>
        </p:nvSpPr>
        <p:spPr>
          <a:xfrm>
            <a:off x="457200" y="1481328"/>
            <a:ext cx="8229600" cy="4525963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0" name="Дата 9"/>
          <p:cNvSpPr>
            <a:spLocks noGrp="1"/>
          </p:cNvSpPr>
          <p:nvPr>
            <p:ph type="dt" sz="half" idx="2"/>
          </p:nvPr>
        </p:nvSpPr>
        <p:spPr>
          <a:xfrm>
            <a:off x="6727032" y="6407944"/>
            <a:ext cx="1920240" cy="365760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fld id="{5B106E36-FD25-4E2D-B0AA-010F637433A0}" type="datetimeFigureOut">
              <a:rPr lang="ru-RU" smtClean="0"/>
              <a:pPr/>
              <a:t>07.08.2020</a:t>
            </a:fld>
            <a:endParaRPr lang="ru-RU"/>
          </a:p>
        </p:txBody>
      </p:sp>
      <p:sp>
        <p:nvSpPr>
          <p:cNvPr id="22" name="Нижний колонтитул 21"/>
          <p:cNvSpPr>
            <a:spLocks noGrp="1"/>
          </p:cNvSpPr>
          <p:nvPr>
            <p:ph type="ftr" sz="quarter" idx="3"/>
          </p:nvPr>
        </p:nvSpPr>
        <p:spPr>
          <a:xfrm>
            <a:off x="4380072" y="6407944"/>
            <a:ext cx="2350681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endParaRPr lang="ru-RU"/>
          </a:p>
        </p:txBody>
      </p:sp>
      <p:sp>
        <p:nvSpPr>
          <p:cNvPr id="18" name="Номер слайда 17"/>
          <p:cNvSpPr>
            <a:spLocks noGrp="1"/>
          </p:cNvSpPr>
          <p:nvPr>
            <p:ph type="sldNum" sz="quarter" idx="4"/>
          </p:nvPr>
        </p:nvSpPr>
        <p:spPr>
          <a:xfrm>
            <a:off x="8647272" y="6407944"/>
            <a:ext cx="36576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 b="0">
                <a:solidFill>
                  <a:schemeClr val="tx1"/>
                </a:solidFill>
              </a:defRPr>
            </a:lvl1pPr>
            <a:extLst/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rtl="0" eaLnBrk="1" latinLnBrk="0" hangingPunct="1">
        <a:spcBef>
          <a:spcPct val="0"/>
        </a:spcBef>
        <a:buNone/>
        <a:defRPr kumimoji="0" sz="4100" b="1" kern="1200">
          <a:solidFill>
            <a:schemeClr val="tx2"/>
          </a:solidFill>
          <a:effectLst>
            <a:outerShdw blurRad="31750" dist="25400" dir="540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56032" algn="l" rtl="0" eaLnBrk="1" latinLnBrk="0" hangingPunct="1">
        <a:spcBef>
          <a:spcPts val="400"/>
        </a:spcBef>
        <a:spcAft>
          <a:spcPts val="0"/>
        </a:spcAft>
        <a:buClr>
          <a:schemeClr val="accent1"/>
        </a:buClr>
        <a:buSzPct val="68000"/>
        <a:buFont typeface="Wingdings 3"/>
        <a:buChar char=""/>
        <a:defRPr kumimoji="0"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21792" indent="-228600" algn="l" rtl="0" eaLnBrk="1" latinLnBrk="0" hangingPunct="1">
        <a:spcBef>
          <a:spcPts val="324"/>
        </a:spcBef>
        <a:buClr>
          <a:schemeClr val="accent1"/>
        </a:buClr>
        <a:buFont typeface="Verdana"/>
        <a:buChar char="◦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28600" algn="l" rtl="0" eaLnBrk="1" latinLnBrk="0" hangingPunct="1">
        <a:spcBef>
          <a:spcPts val="350"/>
        </a:spcBef>
        <a:buClr>
          <a:schemeClr val="accent2"/>
        </a:buClr>
        <a:buSzPct val="100000"/>
        <a:buFont typeface="Wingdings 2"/>
        <a:buChar char="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2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олилиния 12"/>
          <p:cNvSpPr>
            <a:spLocks/>
          </p:cNvSpPr>
          <p:nvPr/>
        </p:nvSpPr>
        <p:spPr bwMode="auto">
          <a:xfrm>
            <a:off x="716436" y="5001993"/>
            <a:ext cx="3802003" cy="144311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-329" y="347"/>
                </a:moveTo>
                <a:lnTo>
                  <a:pt x="7156" y="682"/>
                </a:lnTo>
                <a:lnTo>
                  <a:pt x="5229" y="682"/>
                </a:lnTo>
                <a:lnTo>
                  <a:pt x="-328" y="345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Полилиния 11"/>
          <p:cNvSpPr>
            <a:spLocks/>
          </p:cNvSpPr>
          <p:nvPr/>
        </p:nvSpPr>
        <p:spPr bwMode="auto">
          <a:xfrm>
            <a:off x="-53561" y="5785023"/>
            <a:ext cx="3802003" cy="8382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817" y="97"/>
                </a:moveTo>
                <a:lnTo>
                  <a:pt x="6408" y="682"/>
                </a:lnTo>
                <a:lnTo>
                  <a:pt x="5232" y="685"/>
                </a:lnTo>
                <a:lnTo>
                  <a:pt x="829" y="101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4" name="Прямоугольный треугольник 13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15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0" name="Текст 29"/>
          <p:cNvSpPr>
            <a:spLocks noGrp="1"/>
          </p:cNvSpPr>
          <p:nvPr>
            <p:ph type="body" idx="1"/>
          </p:nvPr>
        </p:nvSpPr>
        <p:spPr>
          <a:xfrm>
            <a:off x="457200" y="1481328"/>
            <a:ext cx="8229600" cy="4525963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0" name="Дата 9"/>
          <p:cNvSpPr>
            <a:spLocks noGrp="1"/>
          </p:cNvSpPr>
          <p:nvPr>
            <p:ph type="dt" sz="half" idx="2"/>
          </p:nvPr>
        </p:nvSpPr>
        <p:spPr>
          <a:xfrm>
            <a:off x="6727032" y="6407944"/>
            <a:ext cx="1920240" cy="365760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fld id="{5B106E36-FD25-4E2D-B0AA-010F637433A0}" type="datetimeFigureOut">
              <a:rPr lang="ru-RU" smtClean="0">
                <a:solidFill>
                  <a:prstClr val="black"/>
                </a:solidFill>
              </a:rPr>
              <a:pPr/>
              <a:t>07.08.2020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22" name="Нижний колонтитул 21"/>
          <p:cNvSpPr>
            <a:spLocks noGrp="1"/>
          </p:cNvSpPr>
          <p:nvPr>
            <p:ph type="ftr" sz="quarter" idx="3"/>
          </p:nvPr>
        </p:nvSpPr>
        <p:spPr>
          <a:xfrm>
            <a:off x="4380072" y="6407944"/>
            <a:ext cx="2350681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8" name="Номер слайда 17"/>
          <p:cNvSpPr>
            <a:spLocks noGrp="1"/>
          </p:cNvSpPr>
          <p:nvPr>
            <p:ph type="sldNum" sz="quarter" idx="4"/>
          </p:nvPr>
        </p:nvSpPr>
        <p:spPr>
          <a:xfrm>
            <a:off x="8647272" y="6407944"/>
            <a:ext cx="36576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 b="0">
                <a:solidFill>
                  <a:schemeClr val="tx1"/>
                </a:solidFill>
              </a:defRPr>
            </a:lvl1pPr>
            <a:extLst/>
          </a:lstStyle>
          <a:p>
            <a:fld id="{725C68B6-61C2-468F-89AB-4B9F7531AA68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01077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</p:sldLayoutIdLst>
  <p:txStyles>
    <p:titleStyle>
      <a:lvl1pPr algn="l" rtl="0" eaLnBrk="1" latinLnBrk="0" hangingPunct="1">
        <a:spcBef>
          <a:spcPct val="0"/>
        </a:spcBef>
        <a:buNone/>
        <a:defRPr kumimoji="0" sz="4100" b="1" kern="1200">
          <a:solidFill>
            <a:schemeClr val="tx2"/>
          </a:solidFill>
          <a:effectLst>
            <a:outerShdw blurRad="31750" dist="25400" dir="540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56032" algn="l" rtl="0" eaLnBrk="1" latinLnBrk="0" hangingPunct="1">
        <a:spcBef>
          <a:spcPts val="400"/>
        </a:spcBef>
        <a:spcAft>
          <a:spcPts val="0"/>
        </a:spcAft>
        <a:buClr>
          <a:schemeClr val="accent1"/>
        </a:buClr>
        <a:buSzPct val="68000"/>
        <a:buFont typeface="Wingdings 3"/>
        <a:buChar char=""/>
        <a:defRPr kumimoji="0"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21792" indent="-228600" algn="l" rtl="0" eaLnBrk="1" latinLnBrk="0" hangingPunct="1">
        <a:spcBef>
          <a:spcPts val="324"/>
        </a:spcBef>
        <a:buClr>
          <a:schemeClr val="accent1"/>
        </a:buClr>
        <a:buFont typeface="Verdana"/>
        <a:buChar char="◦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28600" algn="l" rtl="0" eaLnBrk="1" latinLnBrk="0" hangingPunct="1">
        <a:spcBef>
          <a:spcPts val="350"/>
        </a:spcBef>
        <a:buClr>
          <a:schemeClr val="accent2"/>
        </a:buClr>
        <a:buSzPct val="100000"/>
        <a:buFont typeface="Wingdings 2"/>
        <a:buChar char="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2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jpeg"/><Relationship Id="rId4" Type="http://schemas.openxmlformats.org/officeDocument/2006/relationships/image" Target="../media/image17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microsoft.com/office/2007/relationships/diagramDrawing" Target="../diagrams/drawing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jpeg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3" Type="http://schemas.openxmlformats.org/officeDocument/2006/relationships/diagramLayout" Target="../diagrams/layout2.xml"/><Relationship Id="rId7" Type="http://schemas.openxmlformats.org/officeDocument/2006/relationships/diagramLayout" Target="../diagrams/layout3.xml"/><Relationship Id="rId12" Type="http://schemas.microsoft.com/office/2007/relationships/diagramDrawing" Target="../diagrams/drawing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5.xml"/><Relationship Id="rId6" Type="http://schemas.openxmlformats.org/officeDocument/2006/relationships/diagramData" Target="../diagrams/data3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10" Type="http://schemas.openxmlformats.org/officeDocument/2006/relationships/image" Target="../media/image2.jpeg"/><Relationship Id="rId4" Type="http://schemas.openxmlformats.org/officeDocument/2006/relationships/diagramQuickStyle" Target="../diagrams/quickStyle2.xml"/><Relationship Id="rId9" Type="http://schemas.openxmlformats.org/officeDocument/2006/relationships/diagramColors" Target="../diagrams/colors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5.xml"/><Relationship Id="rId3" Type="http://schemas.openxmlformats.org/officeDocument/2006/relationships/diagramLayout" Target="../diagrams/layout4.xml"/><Relationship Id="rId7" Type="http://schemas.openxmlformats.org/officeDocument/2006/relationships/diagramLayout" Target="../diagrams/layout5.xml"/><Relationship Id="rId12" Type="http://schemas.microsoft.com/office/2007/relationships/diagramDrawing" Target="../diagrams/drawing5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openxmlformats.org/officeDocument/2006/relationships/diagramData" Target="../diagrams/data5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10" Type="http://schemas.openxmlformats.org/officeDocument/2006/relationships/image" Target="../media/image2.jpeg"/><Relationship Id="rId4" Type="http://schemas.openxmlformats.org/officeDocument/2006/relationships/diagramQuickStyle" Target="../diagrams/quickStyle4.xml"/><Relationship Id="rId9" Type="http://schemas.openxmlformats.org/officeDocument/2006/relationships/diagramColors" Target="../diagrams/colors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jpeg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13" Type="http://schemas.openxmlformats.org/officeDocument/2006/relationships/diagramColors" Target="../diagrams/colors7.xml"/><Relationship Id="rId18" Type="http://schemas.openxmlformats.org/officeDocument/2006/relationships/image" Target="../media/image2.jpeg"/><Relationship Id="rId3" Type="http://schemas.openxmlformats.org/officeDocument/2006/relationships/notesSlide" Target="../notesSlides/notesSlide1.xml"/><Relationship Id="rId21" Type="http://schemas.microsoft.com/office/2007/relationships/diagramDrawing" Target="../diagrams/drawing7.xml"/><Relationship Id="rId7" Type="http://schemas.openxmlformats.org/officeDocument/2006/relationships/diagramColors" Target="../diagrams/colors6.xml"/><Relationship Id="rId12" Type="http://schemas.openxmlformats.org/officeDocument/2006/relationships/diagramQuickStyle" Target="../diagrams/quickStyle7.xml"/><Relationship Id="rId17" Type="http://schemas.openxmlformats.org/officeDocument/2006/relationships/diagramColors" Target="../diagrams/colors8.xml"/><Relationship Id="rId2" Type="http://schemas.openxmlformats.org/officeDocument/2006/relationships/slideLayout" Target="../slideLayouts/slideLayout12.xml"/><Relationship Id="rId16" Type="http://schemas.openxmlformats.org/officeDocument/2006/relationships/diagramQuickStyle" Target="../diagrams/quickStyle8.xml"/><Relationship Id="rId20" Type="http://schemas.microsoft.com/office/2007/relationships/diagramDrawing" Target="../diagrams/drawing8.xml"/><Relationship Id="rId1" Type="http://schemas.openxmlformats.org/officeDocument/2006/relationships/tags" Target="../tags/tag1.xml"/><Relationship Id="rId6" Type="http://schemas.openxmlformats.org/officeDocument/2006/relationships/diagramQuickStyle" Target="../diagrams/quickStyle6.xml"/><Relationship Id="rId11" Type="http://schemas.openxmlformats.org/officeDocument/2006/relationships/diagramLayout" Target="../diagrams/layout7.xml"/><Relationship Id="rId5" Type="http://schemas.openxmlformats.org/officeDocument/2006/relationships/diagramLayout" Target="../diagrams/layout6.xml"/><Relationship Id="rId15" Type="http://schemas.openxmlformats.org/officeDocument/2006/relationships/diagramLayout" Target="../diagrams/layout8.xml"/><Relationship Id="rId10" Type="http://schemas.openxmlformats.org/officeDocument/2006/relationships/diagramData" Target="../diagrams/data7.xml"/><Relationship Id="rId19" Type="http://schemas.microsoft.com/office/2007/relationships/diagramDrawing" Target="../diagrams/drawing6.xml"/><Relationship Id="rId4" Type="http://schemas.openxmlformats.org/officeDocument/2006/relationships/diagramData" Target="../diagrams/data6.xml"/><Relationship Id="rId9" Type="http://schemas.openxmlformats.org/officeDocument/2006/relationships/image" Target="../media/image14.jpeg"/><Relationship Id="rId14" Type="http://schemas.openxmlformats.org/officeDocument/2006/relationships/diagramData" Target="../diagrams/data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14348" y="1785926"/>
            <a:ext cx="7772400" cy="2643206"/>
          </a:xfrm>
        </p:spPr>
        <p:txBody>
          <a:bodyPr>
            <a:normAutofit fontScale="90000"/>
          </a:bodyPr>
          <a:lstStyle/>
          <a:p>
            <a:pPr algn="ctr"/>
            <a:r>
              <a:rPr lang="ru-RU" dirty="0" smtClean="0"/>
              <a:t>Отчетная презентация по реализации ПСР проектов</a:t>
            </a:r>
            <a:br>
              <a:rPr lang="ru-RU" dirty="0" smtClean="0"/>
            </a:br>
            <a:r>
              <a:rPr lang="ru-RU" dirty="0" smtClean="0"/>
              <a:t>МУ «ЦСО ГПВ и И №1 г.Волгодонска»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71472" y="5786454"/>
            <a:ext cx="7772400" cy="928695"/>
          </a:xfrm>
        </p:spPr>
        <p:txBody>
          <a:bodyPr/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2020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43868" y="3929066"/>
            <a:ext cx="1000132" cy="95994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 descr="\\User\кэв\ОБМЕН\ФОТО\Бережливфый город\аэс\IMG_20180614_163208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75825" y="2742718"/>
            <a:ext cx="4725067" cy="354380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5058" name="Picture 2" descr="\\User\кэв\ОБМЕН\ФОТО\Бережливфый город\аэс\IMG_20180614_160256.jpg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 b="9091"/>
          <a:stretch>
            <a:fillRect/>
          </a:stretch>
        </p:blipFill>
        <p:spPr bwMode="auto">
          <a:xfrm>
            <a:off x="214283" y="142852"/>
            <a:ext cx="3771926" cy="257176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5060" name="Picture 4" descr="\\User\кэв\ОБМЕН\ФОТО\Бережливфый город\аэс\IMG_20180614_081028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72132" y="214290"/>
            <a:ext cx="3357554" cy="251816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143868" y="5898051"/>
            <a:ext cx="1000132" cy="95994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xmlns="" val="19112507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158" y="1481328"/>
            <a:ext cx="8358246" cy="4525963"/>
          </a:xfr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pPr algn="just">
              <a:buNone/>
            </a:pPr>
            <a:r>
              <a:rPr lang="ru-RU" sz="1900" dirty="0" smtClean="0">
                <a:latin typeface="Times New Roman" pitchFamily="18" charset="0"/>
                <a:cs typeface="Times New Roman" pitchFamily="18" charset="0"/>
              </a:rPr>
              <a:t>		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В июне 2018 года на основании приказа  АО «Концерн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Росэнергоатом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» от 28.05.2018 №9/628-П «О реализации и сопровождении проектов «Бережливая поликлиника» и «Бережливый город» с привлечением ПСР - тренеров организовано обучение для персонала Департамента труда и социального развития Администрации города Волгодонска и для сотрудников муниципального учреждения «Центр социального обслуживания граждан пожилого возраста и инвалидов №1 г. Волгодонска» по программе ПСР в рамках проекта «Бережливый город».</a:t>
            </a:r>
          </a:p>
          <a:p>
            <a:pPr algn="just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sz="4400" dirty="0" smtClean="0">
                <a:latin typeface="Times New Roman" pitchFamily="18" charset="0"/>
                <a:cs typeface="Times New Roman" pitchFamily="18" charset="0"/>
              </a:rPr>
              <a:t>О реализации и сопровождении проектов</a:t>
            </a:r>
            <a:endParaRPr lang="ru-RU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43868" y="5898051"/>
            <a:ext cx="1000132" cy="95994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42844" y="857232"/>
            <a:ext cx="8858312" cy="5786478"/>
          </a:xfrm>
        </p:spPr>
        <p:txBody>
          <a:bodyPr/>
          <a:lstStyle/>
          <a:p>
            <a:pPr algn="just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Обучение проведено в соответствии с графиком обучения программы, который включает в себя 3 курса занятий:</a:t>
            </a:r>
          </a:p>
          <a:p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buNone/>
            </a:pPr>
            <a:endParaRPr lang="ru-RU" dirty="0" smtClean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42852"/>
            <a:ext cx="8229600" cy="785818"/>
          </a:xfrm>
        </p:spPr>
        <p:txBody>
          <a:bodyPr/>
          <a:lstStyle/>
          <a:p>
            <a:pPr algn="ctr"/>
            <a:r>
              <a:rPr lang="ru-RU" dirty="0" smtClean="0"/>
              <a:t>Программа обучения</a:t>
            </a:r>
            <a:endParaRPr lang="ru-RU" dirty="0"/>
          </a:p>
        </p:txBody>
      </p:sp>
      <p:graphicFrame>
        <p:nvGraphicFramePr>
          <p:cNvPr id="4" name="Схема 3"/>
          <p:cNvGraphicFramePr/>
          <p:nvPr/>
        </p:nvGraphicFramePr>
        <p:xfrm>
          <a:off x="2000232" y="1785926"/>
          <a:ext cx="6357982" cy="45720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43868" y="5898051"/>
            <a:ext cx="1000132" cy="95994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72409" y="134763"/>
            <a:ext cx="6704110" cy="628056"/>
          </a:xfrm>
        </p:spPr>
        <p:txBody>
          <a:bodyPr/>
          <a:lstStyle/>
          <a:p>
            <a:pPr algn="ctr"/>
            <a:r>
              <a:rPr lang="ru-RU" sz="2000" dirty="0" smtClean="0"/>
              <a:t>Памятка (инструкция) для стандартизации процесса оказания социальных услуг</a:t>
            </a:r>
            <a:endParaRPr lang="ru-RU" dirty="0"/>
          </a:p>
        </p:txBody>
      </p:sp>
      <p:graphicFrame>
        <p:nvGraphicFramePr>
          <p:cNvPr id="5" name="Схема 4"/>
          <p:cNvGraphicFramePr/>
          <p:nvPr/>
        </p:nvGraphicFramePr>
        <p:xfrm>
          <a:off x="158439" y="924172"/>
          <a:ext cx="8837359" cy="30541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6" name="Схема 5"/>
          <p:cNvGraphicFramePr/>
          <p:nvPr/>
        </p:nvGraphicFramePr>
        <p:xfrm>
          <a:off x="158439" y="3714289"/>
          <a:ext cx="8837359" cy="31069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0"/>
            <a:ext cx="1011244" cy="97061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xmlns="" val="10313321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14282" y="785795"/>
            <a:ext cx="8786874" cy="642941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 fontScale="92500"/>
          </a:bodyPr>
          <a:lstStyle/>
          <a:p>
            <a:pPr algn="just"/>
            <a:r>
              <a:rPr lang="ru-RU" sz="1700" dirty="0" smtClean="0">
                <a:latin typeface="Times New Roman" pitchFamily="18" charset="0"/>
                <a:cs typeface="Times New Roman" pitchFamily="18" charset="0"/>
              </a:rPr>
              <a:t>В целях внедрения ПСР – проекта в сфере предоставления социальных услуг  разработаны карточки по достижению целевого состояния и целевых показателей  3 ПСР – проектов: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42852"/>
            <a:ext cx="8472518" cy="500066"/>
          </a:xfrm>
        </p:spPr>
        <p:txBody>
          <a:bodyPr>
            <a:normAutofit fontScale="90000"/>
          </a:bodyPr>
          <a:lstStyle/>
          <a:p>
            <a:pPr algn="ctr"/>
            <a:r>
              <a:rPr lang="ru-RU" dirty="0" smtClean="0"/>
              <a:t>Карточка ПСР - проекта</a:t>
            </a:r>
            <a:endParaRPr lang="ru-RU" dirty="0"/>
          </a:p>
        </p:txBody>
      </p:sp>
      <p:sp>
        <p:nvSpPr>
          <p:cNvPr id="2355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xmlns="" val="2133532986"/>
              </p:ext>
            </p:extLst>
          </p:nvPr>
        </p:nvGraphicFramePr>
        <p:xfrm>
          <a:off x="142844" y="1714488"/>
          <a:ext cx="8858312" cy="48108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xmlns="" val="57804202"/>
              </p:ext>
            </p:extLst>
          </p:nvPr>
        </p:nvGraphicFramePr>
        <p:xfrm>
          <a:off x="251520" y="1628800"/>
          <a:ext cx="8498116" cy="48245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001024" y="5715016"/>
            <a:ext cx="1000132" cy="95994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Блок-схема: альтернативный процесс 10"/>
          <p:cNvSpPr/>
          <p:nvPr/>
        </p:nvSpPr>
        <p:spPr>
          <a:xfrm>
            <a:off x="178563" y="2276872"/>
            <a:ext cx="8786874" cy="576064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Блок-схема: альтернативный процесс 9"/>
          <p:cNvSpPr/>
          <p:nvPr/>
        </p:nvSpPr>
        <p:spPr>
          <a:xfrm>
            <a:off x="178563" y="476672"/>
            <a:ext cx="8786874" cy="576064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78563" y="0"/>
            <a:ext cx="8786874" cy="548680"/>
          </a:xfr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pPr algn="ctr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о итогам проведенной подготовительной работы определены цели проекта, плановый и текущий показатель: </a:t>
            </a:r>
          </a:p>
          <a:p>
            <a:pPr algn="just"/>
            <a:endParaRPr lang="ru-RU" sz="2400" dirty="0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 cstate="print"/>
          <a:srcRect l="29202" t="54394" r="26273" b="33154"/>
          <a:stretch>
            <a:fillRect/>
          </a:stretch>
        </p:blipFill>
        <p:spPr bwMode="auto">
          <a:xfrm>
            <a:off x="392877" y="1052736"/>
            <a:ext cx="8358246" cy="14857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TextBox 6"/>
          <p:cNvSpPr txBox="1"/>
          <p:nvPr/>
        </p:nvSpPr>
        <p:spPr>
          <a:xfrm>
            <a:off x="359532" y="2276872"/>
            <a:ext cx="8424936" cy="52322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lvl="0"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Оптимизация процесса оказания услуг пенсионерам, инвалидам и детям инвалидам в части обеспечения продовольственными и промышленными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оварами»:</a:t>
            </a:r>
            <a:endParaRPr lang="ru-RU" sz="1400" dirty="0"/>
          </a:p>
        </p:txBody>
      </p:sp>
      <p:pic>
        <p:nvPicPr>
          <p:cNvPr id="14340" name="Picture 4"/>
          <p:cNvPicPr>
            <a:picLocks noChangeAspect="1" noChangeArrowheads="1"/>
          </p:cNvPicPr>
          <p:nvPr/>
        </p:nvPicPr>
        <p:blipFill>
          <a:blip r:embed="rId3" cstate="print"/>
          <a:srcRect l="29106" t="30030" r="25976" b="58251"/>
          <a:stretch>
            <a:fillRect/>
          </a:stretch>
        </p:blipFill>
        <p:spPr bwMode="auto">
          <a:xfrm>
            <a:off x="321439" y="2924944"/>
            <a:ext cx="8501122" cy="14857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Прямоугольник 8"/>
          <p:cNvSpPr/>
          <p:nvPr/>
        </p:nvSpPr>
        <p:spPr>
          <a:xfrm>
            <a:off x="285720" y="529516"/>
            <a:ext cx="8572560" cy="52322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square">
            <a:spAutoFit/>
          </a:bodyPr>
          <a:lstStyle/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«Оптимизация процесса оказания услуги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«Оптимизация процесса оказания услуг пенсионерам, инвалидам и детям инвалидам в части обеспечения  лекарственными средствами и изделиями медицинского назначения»:</a:t>
            </a:r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Блок-схема: альтернативный процесс 12"/>
          <p:cNvSpPr/>
          <p:nvPr/>
        </p:nvSpPr>
        <p:spPr>
          <a:xfrm>
            <a:off x="178563" y="4149080"/>
            <a:ext cx="8786874" cy="576064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4" name="TextBox 13"/>
          <p:cNvSpPr txBox="1"/>
          <p:nvPr/>
        </p:nvSpPr>
        <p:spPr>
          <a:xfrm>
            <a:off x="323528" y="4149080"/>
            <a:ext cx="8496944" cy="52322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«Оптимизация процесса оказания дополнительных услуг по уборке жилых помещений получателей социальных услуг»: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8" name="Рисунок 17" descr="1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23528" y="4797335"/>
            <a:ext cx="8568952" cy="1367969"/>
          </a:xfrm>
          <a:prstGeom prst="rect">
            <a:avLst/>
          </a:prstGeom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218296" y="5969489"/>
            <a:ext cx="925704" cy="88851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/>
          <p:cNvPicPr>
            <a:picLocks noChangeAspect="1" noChangeArrowheads="1"/>
          </p:cNvPicPr>
          <p:nvPr/>
        </p:nvPicPr>
        <p:blipFill rotWithShape="1">
          <a:blip r:embed="rId2" cstate="print"/>
          <a:srcRect l="26562" t="49268" r="23047" b="44258"/>
          <a:stretch/>
        </p:blipFill>
        <p:spPr bwMode="auto">
          <a:xfrm>
            <a:off x="611560" y="3140968"/>
            <a:ext cx="7643866" cy="695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" name="Picture 4"/>
          <p:cNvPicPr>
            <a:picLocks noChangeAspect="1" noChangeArrowheads="1"/>
          </p:cNvPicPr>
          <p:nvPr/>
        </p:nvPicPr>
        <p:blipFill rotWithShape="1">
          <a:blip r:embed="rId2" cstate="print"/>
          <a:srcRect l="26562" t="49268" r="23047" b="44258"/>
          <a:stretch/>
        </p:blipFill>
        <p:spPr bwMode="auto">
          <a:xfrm>
            <a:off x="750067" y="1556792"/>
            <a:ext cx="7643866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Содержимое 1"/>
          <p:cNvSpPr>
            <a:spLocks noGrp="1"/>
          </p:cNvSpPr>
          <p:nvPr>
            <p:ph idx="1"/>
          </p:nvPr>
        </p:nvSpPr>
        <p:spPr>
          <a:xfrm>
            <a:off x="457200" y="548679"/>
            <a:ext cx="8229600" cy="1152129"/>
          </a:xfr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Итого в реализации ПСР – проекта приняли участие 140 получателей услуг. Ежедневно социальный работник обслуживал 8 человек. </a:t>
            </a:r>
          </a:p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о результатам  внедрения ПСР – проекта  следующие результаты:</a:t>
            </a:r>
          </a:p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«Оптимизация процесса оказания услуги </a:t>
            </a: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«Оптимизация процесса оказания услуг пенсионерам, инвалидам и детям инвалидам в части обеспечения  лекарственными средствами и изделиями медицинского назначения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»: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571504"/>
          </a:xfrm>
        </p:spPr>
        <p:txBody>
          <a:bodyPr>
            <a:noAutofit/>
          </a:bodyPr>
          <a:lstStyle/>
          <a:p>
            <a:pPr algn="ctr"/>
            <a:r>
              <a:rPr lang="ru-RU" sz="3200" dirty="0" smtClean="0"/>
              <a:t>Анализ реализации ПСР проектов</a:t>
            </a:r>
            <a:endParaRPr lang="ru-RU" sz="3200" dirty="0"/>
          </a:p>
        </p:txBody>
      </p:sp>
      <p:sp>
        <p:nvSpPr>
          <p:cNvPr id="6" name="TextBox 5"/>
          <p:cNvSpPr txBox="1"/>
          <p:nvPr/>
        </p:nvSpPr>
        <p:spPr>
          <a:xfrm>
            <a:off x="395535" y="2790584"/>
            <a:ext cx="8311944" cy="46166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«Оптимизация процесса оказания услуги </a:t>
            </a: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«Оптимизация процесса оказания услуг пенсионерам, инвалидам и детям инвалидам в части обеспечения продовольственными и промышленными товарами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»:</a:t>
            </a:r>
          </a:p>
        </p:txBody>
      </p:sp>
      <p:pic>
        <p:nvPicPr>
          <p:cNvPr id="40964" name="Picture 4"/>
          <p:cNvPicPr>
            <a:picLocks noChangeAspect="1" noChangeArrowheads="1"/>
          </p:cNvPicPr>
          <p:nvPr/>
        </p:nvPicPr>
        <p:blipFill rotWithShape="1">
          <a:blip r:embed="rId2" cstate="print"/>
          <a:srcRect l="26562" t="57849" r="23047" b="33154"/>
          <a:stretch/>
        </p:blipFill>
        <p:spPr bwMode="auto">
          <a:xfrm>
            <a:off x="611560" y="3836584"/>
            <a:ext cx="7643866" cy="8885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43868" y="5786454"/>
            <a:ext cx="1000132" cy="95994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0962" name="Picture 2"/>
          <p:cNvPicPr>
            <a:picLocks noChangeAspect="1" noChangeArrowheads="1"/>
          </p:cNvPicPr>
          <p:nvPr/>
        </p:nvPicPr>
        <p:blipFill rotWithShape="1">
          <a:blip r:embed="rId4" cstate="print"/>
          <a:srcRect l="25781" t="47411" r="22656" b="45068"/>
          <a:stretch/>
        </p:blipFill>
        <p:spPr bwMode="auto">
          <a:xfrm>
            <a:off x="646005" y="2060848"/>
            <a:ext cx="7811005" cy="7297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TextBox 10"/>
          <p:cNvSpPr txBox="1"/>
          <p:nvPr/>
        </p:nvSpPr>
        <p:spPr>
          <a:xfrm>
            <a:off x="416028" y="4577317"/>
            <a:ext cx="8311944" cy="52322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«Оптимизация процесса оказания дополнительных услуг по уборке жилых помещений получателей социальных услуг»:</a:t>
            </a:r>
          </a:p>
        </p:txBody>
      </p:sp>
      <p:pic>
        <p:nvPicPr>
          <p:cNvPr id="12" name="Рисунок 11" descr="Безымянный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043608" y="5100538"/>
            <a:ext cx="6912768" cy="1165890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14282" y="571480"/>
            <a:ext cx="8786874" cy="1200329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lvl="0" algn="just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Для проведения производственных анализов 1,2 ПСР – проекта «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Оптимизация процесса оказания услуг пенсионерам, инвалидам и детям инвалидам в части обеспечения продовольственными и промышленными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товарами» использовался инструмент «Диаграмма спагетти»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571480"/>
          </a:xfrm>
        </p:spPr>
        <p:txBody>
          <a:bodyPr>
            <a:normAutofit fontScale="90000"/>
          </a:bodyPr>
          <a:lstStyle/>
          <a:p>
            <a:pPr algn="ctr"/>
            <a:r>
              <a:rPr lang="ru-RU" dirty="0" smtClean="0"/>
              <a:t>Было - стало</a:t>
            </a:r>
            <a:endParaRPr lang="ru-RU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43868" y="5898051"/>
            <a:ext cx="1000132" cy="95994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6951" b="11151"/>
          <a:stretch/>
        </p:blipFill>
        <p:spPr>
          <a:xfrm>
            <a:off x="215845" y="1861220"/>
            <a:ext cx="2123907" cy="2503884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4300" b="15351"/>
          <a:stretch/>
        </p:blipFill>
        <p:spPr>
          <a:xfrm>
            <a:off x="6990270" y="1844824"/>
            <a:ext cx="2010885" cy="252028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6950" b="10101"/>
          <a:stretch/>
        </p:blipFill>
        <p:spPr>
          <a:xfrm>
            <a:off x="2482540" y="1866925"/>
            <a:ext cx="2125179" cy="2498179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4300" b="15351"/>
          <a:stretch/>
        </p:blipFill>
        <p:spPr>
          <a:xfrm>
            <a:off x="4722304" y="1861220"/>
            <a:ext cx="2225960" cy="2503884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14282" y="4498955"/>
            <a:ext cx="4357283" cy="17851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/>
              <a:t>В результате производственного анализа № 1:</a:t>
            </a:r>
          </a:p>
          <a:p>
            <a:pPr marL="285750" indent="-285750">
              <a:buFontTx/>
              <a:buChar char="-"/>
            </a:pPr>
            <a:r>
              <a:rPr lang="ru-RU" sz="1400" dirty="0" smtClean="0"/>
              <a:t>протяженность пути 17 км;</a:t>
            </a:r>
          </a:p>
          <a:p>
            <a:pPr marL="285750" indent="-285750">
              <a:buFontTx/>
              <a:buChar char="-"/>
            </a:pPr>
            <a:r>
              <a:rPr lang="ru-RU" sz="1400" dirty="0" smtClean="0"/>
              <a:t>количество обслуженных -5 человек;</a:t>
            </a:r>
          </a:p>
          <a:p>
            <a:pPr marL="285750" indent="-285750">
              <a:buFontTx/>
              <a:buChar char="-"/>
            </a:pPr>
            <a:r>
              <a:rPr lang="ru-RU" sz="1400" dirty="0" smtClean="0"/>
              <a:t>количество услуг-5 </a:t>
            </a:r>
          </a:p>
          <a:p>
            <a:pPr marL="285750" indent="-285750">
              <a:buFontTx/>
              <a:buChar char="-"/>
            </a:pPr>
            <a:endParaRPr lang="ru-RU" dirty="0" smtClean="0"/>
          </a:p>
          <a:p>
            <a:endParaRPr lang="ru-RU" dirty="0" smtClean="0"/>
          </a:p>
          <a:p>
            <a:pPr marL="285750" indent="-285750">
              <a:buFontTx/>
              <a:buChar char="-"/>
            </a:pPr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4673216" y="4498955"/>
            <a:ext cx="4357283" cy="17851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/>
              <a:t>В результате производственного анализа № 2:</a:t>
            </a:r>
          </a:p>
          <a:p>
            <a:pPr marL="285750" indent="-285750">
              <a:buFontTx/>
              <a:buChar char="-"/>
            </a:pPr>
            <a:r>
              <a:rPr lang="ru-RU" sz="1400" dirty="0" smtClean="0"/>
              <a:t>протяженность пути 17 км;</a:t>
            </a:r>
          </a:p>
          <a:p>
            <a:pPr marL="285750" indent="-285750">
              <a:buFontTx/>
              <a:buChar char="-"/>
            </a:pPr>
            <a:r>
              <a:rPr lang="ru-RU" sz="1400" dirty="0" smtClean="0"/>
              <a:t>количество обслуженных -8 человек;</a:t>
            </a:r>
          </a:p>
          <a:p>
            <a:pPr marL="285750" indent="-285750">
              <a:buFontTx/>
              <a:buChar char="-"/>
            </a:pPr>
            <a:r>
              <a:rPr lang="ru-RU" sz="1400" dirty="0" smtClean="0"/>
              <a:t>количество услуг-14 </a:t>
            </a:r>
          </a:p>
          <a:p>
            <a:pPr marL="285750" indent="-285750">
              <a:buFontTx/>
              <a:buChar char="-"/>
            </a:pPr>
            <a:endParaRPr lang="ru-RU" dirty="0" smtClean="0"/>
          </a:p>
          <a:p>
            <a:endParaRPr lang="ru-RU" dirty="0" smtClean="0"/>
          </a:p>
          <a:p>
            <a:pPr marL="285750" indent="-285750">
              <a:buFontTx/>
              <a:buChar char="-"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6810678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Заголовок 2"/>
          <p:cNvSpPr txBox="1">
            <a:spLocks/>
          </p:cNvSpPr>
          <p:nvPr/>
        </p:nvSpPr>
        <p:spPr bwMode="auto">
          <a:xfrm>
            <a:off x="1918899" y="1"/>
            <a:ext cx="6430235" cy="847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ru-RU" sz="1800" kern="0" dirty="0" smtClean="0"/>
              <a:t>Памятка (инструкция) </a:t>
            </a:r>
          </a:p>
          <a:p>
            <a:pPr algn="ctr"/>
            <a:r>
              <a:rPr lang="ru-RU" sz="1800" kern="0" dirty="0" smtClean="0"/>
              <a:t>для стандартизации процесса оказания социальных услуг </a:t>
            </a:r>
            <a:r>
              <a:rPr lang="en-US" sz="1800" kern="0" dirty="0" smtClean="0"/>
              <a:t> </a:t>
            </a:r>
            <a:r>
              <a:rPr lang="ru-RU" sz="1800" kern="0" dirty="0" smtClean="0"/>
              <a:t> </a:t>
            </a:r>
            <a:endParaRPr lang="ru-RU" sz="1800" kern="0" dirty="0"/>
          </a:p>
        </p:txBody>
      </p:sp>
      <p:sp>
        <p:nvSpPr>
          <p:cNvPr id="46" name="TextBox 45"/>
          <p:cNvSpPr txBox="1"/>
          <p:nvPr>
            <p:custDataLst>
              <p:tags r:id="rId1"/>
            </p:custDataLst>
          </p:nvPr>
        </p:nvSpPr>
        <p:spPr>
          <a:xfrm>
            <a:off x="6598097" y="5876545"/>
            <a:ext cx="3128811" cy="731519"/>
          </a:xfrm>
          <a:prstGeom prst="rect">
            <a:avLst/>
          </a:prstGeom>
          <a:noFill/>
        </p:spPr>
        <p:txBody>
          <a:bodyPr wrap="square" lIns="89602" tIns="44801" rIns="89602" bIns="44801" rtlCol="0">
            <a:noAutofit/>
          </a:bodyPr>
          <a:lstStyle/>
          <a:p>
            <a:pPr defTabSz="895827">
              <a:lnSpc>
                <a:spcPct val="110000"/>
              </a:lnSpc>
              <a:defRPr/>
            </a:pPr>
            <a:endParaRPr lang="ru-RU" sz="1100" kern="0" dirty="0">
              <a:solidFill>
                <a:srgbClr val="3E87BD">
                  <a:lumMod val="75000"/>
                </a:srgbClr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932041" y="1988840"/>
            <a:ext cx="4211960" cy="523212"/>
          </a:xfrm>
          <a:prstGeom prst="rect">
            <a:avLst/>
          </a:prstGeom>
        </p:spPr>
        <p:txBody>
          <a:bodyPr wrap="square" lIns="91430" tIns="45716" rIns="91430" bIns="45716">
            <a:spAutoFit/>
          </a:bodyPr>
          <a:lstStyle/>
          <a:p>
            <a:endParaRPr lang="ru-RU" sz="1000" kern="0" dirty="0">
              <a:solidFill>
                <a:srgbClr val="3E87BD">
                  <a:lumMod val="75000"/>
                </a:srgbClr>
              </a:solidFill>
            </a:endParaRPr>
          </a:p>
          <a:p>
            <a:endParaRPr lang="ru-RU" dirty="0"/>
          </a:p>
        </p:txBody>
      </p:sp>
      <p:sp>
        <p:nvSpPr>
          <p:cNvPr id="5" name="Овал 4"/>
          <p:cNvSpPr/>
          <p:nvPr/>
        </p:nvSpPr>
        <p:spPr>
          <a:xfrm>
            <a:off x="8672438" y="6521267"/>
            <a:ext cx="257248" cy="223782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62433" y="6434489"/>
            <a:ext cx="8974065" cy="9701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graphicFrame>
        <p:nvGraphicFramePr>
          <p:cNvPr id="48" name="Схема 47"/>
          <p:cNvGraphicFramePr/>
          <p:nvPr/>
        </p:nvGraphicFramePr>
        <p:xfrm>
          <a:off x="2128947" y="1211896"/>
          <a:ext cx="6220187" cy="14201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336898" name="Picture 2" descr="C:\Users\KEV\Desktop\f8a0b9d225b83a873e0e9f6d39ce3cb2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17706" y="920987"/>
            <a:ext cx="1911241" cy="1911129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  <p:sp>
        <p:nvSpPr>
          <p:cNvPr id="44" name="Заголовок 2"/>
          <p:cNvSpPr txBox="1">
            <a:spLocks/>
          </p:cNvSpPr>
          <p:nvPr/>
        </p:nvSpPr>
        <p:spPr bwMode="auto">
          <a:xfrm>
            <a:off x="1959359" y="953706"/>
            <a:ext cx="6389775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ru-RU" sz="1000" kern="0" dirty="0" smtClean="0">
                <a:latin typeface="+mn-lt"/>
              </a:rPr>
              <a:t>Заказчик – в центре внимания. Задача каждого быть клиентоориентированным</a:t>
            </a:r>
            <a:r>
              <a:rPr lang="ru-RU" sz="1000" kern="0" dirty="0" smtClean="0"/>
              <a:t>!</a:t>
            </a:r>
            <a:endParaRPr lang="ru-RU" sz="1000" kern="0" dirty="0"/>
          </a:p>
        </p:txBody>
      </p:sp>
      <p:pic>
        <p:nvPicPr>
          <p:cNvPr id="336899" name="Picture 3" descr="C:\Users\KEV\Desktop\jTx69nqLc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65509" y="1211896"/>
            <a:ext cx="929317" cy="1659273"/>
          </a:xfrm>
          <a:prstGeom prst="rect">
            <a:avLst/>
          </a:prstGeom>
          <a:noFill/>
        </p:spPr>
      </p:pic>
      <p:sp>
        <p:nvSpPr>
          <p:cNvPr id="57" name="Заголовок 2"/>
          <p:cNvSpPr txBox="1">
            <a:spLocks/>
          </p:cNvSpPr>
          <p:nvPr/>
        </p:nvSpPr>
        <p:spPr bwMode="auto">
          <a:xfrm>
            <a:off x="356192" y="2832115"/>
            <a:ext cx="3545509" cy="5652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ru-RU" sz="1200" kern="0" dirty="0" smtClean="0"/>
              <a:t>Эффективный метод организации </a:t>
            </a:r>
          </a:p>
          <a:p>
            <a:pPr algn="ctr"/>
            <a:r>
              <a:rPr lang="ru-RU" sz="1200" kern="0" dirty="0" smtClean="0"/>
              <a:t>рабочего места.</a:t>
            </a:r>
          </a:p>
          <a:p>
            <a:pPr algn="ctr"/>
            <a:r>
              <a:rPr lang="ru-RU" sz="1200" kern="0" dirty="0" smtClean="0"/>
              <a:t>  </a:t>
            </a:r>
            <a:r>
              <a:rPr lang="en-US" sz="1200" kern="0" dirty="0" smtClean="0"/>
              <a:t> </a:t>
            </a:r>
            <a:r>
              <a:rPr lang="ru-RU" sz="1200" kern="0" dirty="0" smtClean="0"/>
              <a:t> </a:t>
            </a:r>
            <a:endParaRPr lang="ru-RU" sz="1200" kern="0" dirty="0"/>
          </a:p>
        </p:txBody>
      </p:sp>
      <p:graphicFrame>
        <p:nvGraphicFramePr>
          <p:cNvPr id="12" name="Схема 11"/>
          <p:cNvGraphicFramePr/>
          <p:nvPr/>
        </p:nvGraphicFramePr>
        <p:xfrm>
          <a:off x="62433" y="3353422"/>
          <a:ext cx="4084360" cy="32094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3" name="Заголовок 2"/>
          <p:cNvSpPr txBox="1">
            <a:spLocks/>
          </p:cNvSpPr>
          <p:nvPr/>
        </p:nvSpPr>
        <p:spPr bwMode="auto">
          <a:xfrm>
            <a:off x="4161786" y="2779432"/>
            <a:ext cx="4525646" cy="753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ru-RU" sz="1200" kern="0" dirty="0" smtClean="0"/>
              <a:t>Выявление и снижение потерь - приоритетная задача сотрудника, так как это  является основой повышения эффективности.</a:t>
            </a:r>
          </a:p>
          <a:p>
            <a:pPr algn="ctr"/>
            <a:r>
              <a:rPr lang="ru-RU" sz="1200" kern="0" dirty="0" smtClean="0"/>
              <a:t>  </a:t>
            </a:r>
            <a:r>
              <a:rPr lang="en-US" sz="1200" kern="0" dirty="0" smtClean="0"/>
              <a:t> </a:t>
            </a:r>
            <a:r>
              <a:rPr lang="ru-RU" sz="1200" kern="0" dirty="0" smtClean="0"/>
              <a:t> </a:t>
            </a:r>
            <a:endParaRPr lang="ru-RU" sz="1200" kern="0" dirty="0"/>
          </a:p>
        </p:txBody>
      </p:sp>
      <p:graphicFrame>
        <p:nvGraphicFramePr>
          <p:cNvPr id="14" name="Схема 13"/>
          <p:cNvGraphicFramePr/>
          <p:nvPr/>
        </p:nvGraphicFramePr>
        <p:xfrm>
          <a:off x="3960968" y="3522742"/>
          <a:ext cx="4726464" cy="31814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sp>
        <p:nvSpPr>
          <p:cNvPr id="17" name="Прямоугольник 16"/>
          <p:cNvSpPr/>
          <p:nvPr/>
        </p:nvSpPr>
        <p:spPr>
          <a:xfrm>
            <a:off x="6051238" y="4989476"/>
            <a:ext cx="186685" cy="448586"/>
          </a:xfrm>
          <a:prstGeom prst="rect">
            <a:avLst/>
          </a:prstGeom>
          <a:solidFill>
            <a:srgbClr val="E8662C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ru-RU" dirty="0" err="1" smtClean="0">
              <a:solidFill>
                <a:srgbClr val="FFC000"/>
              </a:solidFill>
            </a:endParaRPr>
          </a:p>
        </p:txBody>
      </p:sp>
      <p:sp>
        <p:nvSpPr>
          <p:cNvPr id="18" name="Блок-схема: процесс 17"/>
          <p:cNvSpPr/>
          <p:nvPr/>
        </p:nvSpPr>
        <p:spPr>
          <a:xfrm>
            <a:off x="6424609" y="5259001"/>
            <a:ext cx="149025" cy="179061"/>
          </a:xfrm>
          <a:prstGeom prst="flowChartProcess">
            <a:avLst/>
          </a:prstGeom>
          <a:solidFill>
            <a:srgbClr val="E8662C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ru-RU" dirty="0" err="1" smtClean="0">
              <a:solidFill>
                <a:srgbClr val="FFC000"/>
              </a:solidFill>
            </a:endParaRPr>
          </a:p>
        </p:txBody>
      </p:sp>
      <p:sp>
        <p:nvSpPr>
          <p:cNvPr id="19" name="Блок-схема: процесс 18"/>
          <p:cNvSpPr/>
          <p:nvPr/>
        </p:nvSpPr>
        <p:spPr>
          <a:xfrm flipH="1">
            <a:off x="6251121" y="5035667"/>
            <a:ext cx="173488" cy="402395"/>
          </a:xfrm>
          <a:prstGeom prst="flowChartProcess">
            <a:avLst/>
          </a:prstGeom>
          <a:solidFill>
            <a:srgbClr val="E8662C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ru-RU" dirty="0" err="1" smtClean="0">
              <a:solidFill>
                <a:srgbClr val="FFC00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633" y="6562901"/>
            <a:ext cx="3837518" cy="282625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200" b="1" i="1" dirty="0" smtClean="0">
                <a:solidFill>
                  <a:schemeClr val="accent2">
                    <a:lumMod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МУ «ЦСО ГПВ и И №1 г.Волгодонска»</a:t>
            </a:r>
            <a:endParaRPr lang="ru-RU" sz="1200" b="1" i="1" dirty="0">
              <a:solidFill>
                <a:schemeClr val="accent2">
                  <a:lumMod val="2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0" y="0"/>
            <a:ext cx="1000132" cy="95994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cxnSp>
        <p:nvCxnSpPr>
          <p:cNvPr id="23" name="Прямая со стрелкой 22"/>
          <p:cNvCxnSpPr/>
          <p:nvPr/>
        </p:nvCxnSpPr>
        <p:spPr>
          <a:xfrm flipV="1">
            <a:off x="7391767" y="4075155"/>
            <a:ext cx="228075" cy="96818"/>
          </a:xfrm>
          <a:prstGeom prst="straightConnector1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/>
          <p:nvPr/>
        </p:nvCxnSpPr>
        <p:spPr>
          <a:xfrm rot="5400000" flipH="1" flipV="1">
            <a:off x="6499078" y="3952233"/>
            <a:ext cx="198036" cy="149025"/>
          </a:xfrm>
          <a:prstGeom prst="straightConnector1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/>
          <p:nvPr/>
        </p:nvCxnSpPr>
        <p:spPr>
          <a:xfrm rot="10800000">
            <a:off x="4981867" y="4026745"/>
            <a:ext cx="129199" cy="96819"/>
          </a:xfrm>
          <a:prstGeom prst="straightConnector1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>
            <a:off x="7850149" y="5221878"/>
            <a:ext cx="215360" cy="1620"/>
          </a:xfrm>
          <a:prstGeom prst="straightConnector1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>
            <a:endCxn id="54" idx="3"/>
          </p:cNvCxnSpPr>
          <p:nvPr/>
        </p:nvCxnSpPr>
        <p:spPr>
          <a:xfrm rot="10800000">
            <a:off x="4686758" y="5115875"/>
            <a:ext cx="245283" cy="97896"/>
          </a:xfrm>
          <a:prstGeom prst="straightConnector1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 стрелкой 39"/>
          <p:cNvCxnSpPr/>
          <p:nvPr/>
        </p:nvCxnSpPr>
        <p:spPr>
          <a:xfrm rot="16200000" flipH="1">
            <a:off x="7378607" y="6218386"/>
            <a:ext cx="202364" cy="176043"/>
          </a:xfrm>
          <a:prstGeom prst="straightConnector1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 стрелкой 42"/>
          <p:cNvCxnSpPr/>
          <p:nvPr/>
        </p:nvCxnSpPr>
        <p:spPr>
          <a:xfrm rot="10800000" flipV="1">
            <a:off x="5376819" y="6407590"/>
            <a:ext cx="230153" cy="113676"/>
          </a:xfrm>
          <a:prstGeom prst="straightConnector1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Скругленный прямоугольник 50"/>
          <p:cNvSpPr/>
          <p:nvPr/>
        </p:nvSpPr>
        <p:spPr>
          <a:xfrm>
            <a:off x="6072198" y="3357562"/>
            <a:ext cx="830922" cy="492891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Лишняя затрата времени</a:t>
            </a:r>
          </a:p>
        </p:txBody>
      </p:sp>
      <p:sp>
        <p:nvSpPr>
          <p:cNvPr id="52" name="Скругленный прямоугольник 51"/>
          <p:cNvSpPr/>
          <p:nvPr/>
        </p:nvSpPr>
        <p:spPr>
          <a:xfrm>
            <a:off x="3929058" y="3533100"/>
            <a:ext cx="987335" cy="753156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ru-RU" sz="9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купка на всех продуктов возращение в магазин</a:t>
            </a:r>
          </a:p>
        </p:txBody>
      </p:sp>
      <p:sp>
        <p:nvSpPr>
          <p:cNvPr id="53" name="Скругленный прямоугольник 52"/>
          <p:cNvSpPr/>
          <p:nvPr/>
        </p:nvSpPr>
        <p:spPr>
          <a:xfrm>
            <a:off x="7643834" y="3429000"/>
            <a:ext cx="1154951" cy="866245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just"/>
            <a:r>
              <a:rPr lang="ru-RU" sz="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бота без проведения визуализации адресов получателей социальных услуг</a:t>
            </a:r>
          </a:p>
        </p:txBody>
      </p:sp>
      <p:sp>
        <p:nvSpPr>
          <p:cNvPr id="54" name="Скругленный прямоугольник 53"/>
          <p:cNvSpPr/>
          <p:nvPr/>
        </p:nvSpPr>
        <p:spPr>
          <a:xfrm>
            <a:off x="3846151" y="4838918"/>
            <a:ext cx="840608" cy="553912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ru-RU" sz="800" dirty="0" smtClean="0">
                <a:solidFill>
                  <a:schemeClr val="tx1"/>
                </a:solidFill>
              </a:rPr>
              <a:t>Ожидание в очереди</a:t>
            </a:r>
          </a:p>
        </p:txBody>
      </p:sp>
      <p:sp>
        <p:nvSpPr>
          <p:cNvPr id="55" name="Скругленный прямоугольник 54"/>
          <p:cNvSpPr/>
          <p:nvPr/>
        </p:nvSpPr>
        <p:spPr>
          <a:xfrm>
            <a:off x="4000496" y="6000768"/>
            <a:ext cx="1221233" cy="666293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ru-RU" sz="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ольшое количество времени затрачено на 1 получателя социальных услуг</a:t>
            </a:r>
          </a:p>
        </p:txBody>
      </p:sp>
      <p:sp>
        <p:nvSpPr>
          <p:cNvPr id="56" name="Скругленный прямоугольник 55"/>
          <p:cNvSpPr/>
          <p:nvPr/>
        </p:nvSpPr>
        <p:spPr>
          <a:xfrm>
            <a:off x="7619841" y="6205226"/>
            <a:ext cx="1178944" cy="458523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ru-RU" sz="9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балансированный набор продуктов</a:t>
            </a:r>
          </a:p>
        </p:txBody>
      </p:sp>
      <p:sp>
        <p:nvSpPr>
          <p:cNvPr id="58" name="Скругленный прямоугольник 57"/>
          <p:cNvSpPr/>
          <p:nvPr/>
        </p:nvSpPr>
        <p:spPr>
          <a:xfrm>
            <a:off x="8065509" y="4684479"/>
            <a:ext cx="970989" cy="1058580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just"/>
            <a:r>
              <a:rPr lang="ru-RU" sz="800" dirty="0" smtClean="0">
                <a:solidFill>
                  <a:schemeClr val="tx1"/>
                </a:solidFill>
              </a:rPr>
              <a:t>Не проведен анализ локации всех торговых точек и не составлены потоки видов услуг</a:t>
            </a:r>
          </a:p>
        </p:txBody>
      </p:sp>
    </p:spTree>
    <p:extLst>
      <p:ext uri="{BB962C8B-B14F-4D97-AF65-F5344CB8AC3E}">
        <p14:creationId xmlns:p14="http://schemas.microsoft.com/office/powerpoint/2010/main" xmlns="" val="18696218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N5ZjpaTkCs3WRMG8cuP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Открытая">
  <a:themeElements>
    <a:clrScheme name="Открытая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Открытая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inorFont>
    </a:fontScheme>
    <a:fmtScheme name="Открытая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95000" t="-106500" r="5000" b="2065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Открытая">
  <a:themeElements>
    <a:clrScheme name="Открытая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Открытая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inorFont>
    </a:fontScheme>
    <a:fmtScheme name="Открытая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95000" t="-106500" r="5000" b="2065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oncourse</Template>
  <TotalTime>15635</TotalTime>
  <Words>668</Words>
  <Application>Microsoft Office PowerPoint</Application>
  <PresentationFormat>Экран (4:3)</PresentationFormat>
  <Paragraphs>95</Paragraphs>
  <Slides>10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0</vt:i4>
      </vt:variant>
    </vt:vector>
  </HeadingPairs>
  <TitlesOfParts>
    <vt:vector size="12" baseType="lpstr">
      <vt:lpstr>Открытая</vt:lpstr>
      <vt:lpstr>1_Открытая</vt:lpstr>
      <vt:lpstr>Отчетная презентация по реализации ПСР проектов МУ «ЦСО ГПВ и И №1 г.Волгодонска» </vt:lpstr>
      <vt:lpstr>О реализации и сопровождении проектов</vt:lpstr>
      <vt:lpstr>Программа обучения</vt:lpstr>
      <vt:lpstr>Памятка (инструкция) для стандартизации процесса оказания социальных услуг</vt:lpstr>
      <vt:lpstr>Карточка ПСР - проекта</vt:lpstr>
      <vt:lpstr>Слайд 6</vt:lpstr>
      <vt:lpstr>Анализ реализации ПСР проектов</vt:lpstr>
      <vt:lpstr>Было - стало</vt:lpstr>
      <vt:lpstr>Слайд 9</vt:lpstr>
      <vt:lpstr>Слайд 10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тчетная презентация по реализации ПСР проектов МУ «ЦСО ГПВ и И №1 г.Волгодонска»</dc:title>
  <dc:creator>ЦСО № 1</dc:creator>
  <cp:lastModifiedBy>lihoshva_ov</cp:lastModifiedBy>
  <cp:revision>103</cp:revision>
  <dcterms:created xsi:type="dcterms:W3CDTF">2018-12-19T07:48:18Z</dcterms:created>
  <dcterms:modified xsi:type="dcterms:W3CDTF">2020-08-07T08:30:08Z</dcterms:modified>
</cp:coreProperties>
</file>